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905" r:id="rId2"/>
    <p:sldId id="1513" r:id="rId3"/>
    <p:sldId id="1561" r:id="rId4"/>
    <p:sldId id="1573" r:id="rId5"/>
    <p:sldId id="1554" r:id="rId6"/>
    <p:sldId id="1556" r:id="rId7"/>
    <p:sldId id="1570" r:id="rId8"/>
    <p:sldId id="1569" r:id="rId9"/>
    <p:sldId id="1564" r:id="rId10"/>
    <p:sldId id="1563" r:id="rId11"/>
    <p:sldId id="1566" r:id="rId12"/>
    <p:sldId id="1567" r:id="rId13"/>
    <p:sldId id="1568" r:id="rId14"/>
    <p:sldId id="1552" r:id="rId15"/>
    <p:sldId id="1574" r:id="rId16"/>
  </p:sldIdLst>
  <p:sldSz cx="9906000" cy="6858000" type="A4"/>
  <p:notesSz cx="7010400" cy="9296400"/>
  <p:custDataLst>
    <p:tags r:id="rId19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5952" userDrawn="1">
          <p15:clr>
            <a:srgbClr val="A4A3A4"/>
          </p15:clr>
        </p15:guide>
        <p15:guide id="3" pos="5343" userDrawn="1">
          <p15:clr>
            <a:srgbClr val="A4A3A4"/>
          </p15:clr>
        </p15:guide>
        <p15:guide id="4" pos="761" userDrawn="1">
          <p15:clr>
            <a:srgbClr val="A4A3A4"/>
          </p15:clr>
        </p15:guide>
        <p15:guide id="5" pos="281" userDrawn="1">
          <p15:clr>
            <a:srgbClr val="A4A3A4"/>
          </p15:clr>
        </p15:guide>
        <p15:guide id="6" pos="4980" userDrawn="1">
          <p15:clr>
            <a:srgbClr val="A4A3A4"/>
          </p15:clr>
        </p15:guide>
        <p15:guide id="7" pos="4299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ernacki Jacek" initials="BJ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B6"/>
    <a:srgbClr val="DE7E14"/>
    <a:srgbClr val="B0B0B0"/>
    <a:srgbClr val="FFFC71"/>
    <a:srgbClr val="4D4D4D"/>
    <a:srgbClr val="8E8E8E"/>
    <a:srgbClr val="F0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9" autoAdjust="0"/>
    <p:restoredTop sz="95742" autoAdjust="0"/>
  </p:normalViewPr>
  <p:slideViewPr>
    <p:cSldViewPr snapToObjects="1">
      <p:cViewPr varScale="1">
        <p:scale>
          <a:sx n="113" d="100"/>
          <a:sy n="113" d="100"/>
        </p:scale>
        <p:origin x="1236" y="96"/>
      </p:cViewPr>
      <p:guideLst>
        <p:guide orient="horz" pos="799"/>
        <p:guide pos="5952"/>
        <p:guide pos="5343"/>
        <p:guide pos="761"/>
        <p:guide pos="281"/>
        <p:guide pos="4980"/>
        <p:guide pos="4299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2" y="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808DC08D-9EE4-466E-B6C5-21E3645036AF}" type="datetimeFigureOut">
              <a:rPr lang="en-US" smtClean="0"/>
              <a:pPr/>
              <a:t>1/2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31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2" y="8830312"/>
            <a:ext cx="3037735" cy="466088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699E9E9B-37DB-4230-AA06-832616316F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9481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840" cy="46643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2"/>
            <a:ext cx="3037840" cy="46643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B193136F-9336-4C85-B7EB-A39B146B9017}" type="datetimeFigureOut">
              <a:rPr lang="pl-PL" smtClean="0"/>
              <a:pPr/>
              <a:t>28.01.2020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39838" y="1162050"/>
            <a:ext cx="45307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4"/>
            <a:ext cx="5608320" cy="3660458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  <a:p>
            <a:pPr lvl="4"/>
            <a:r>
              <a:rPr lang="pl-PL" smtClean="0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6433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7"/>
            <a:ext cx="3037840" cy="466433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1A013272-F8D2-454A-9CF5-79D8E00B5514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2958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304109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0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639043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1617" indent="-30219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0274" indent="-24142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09698" indent="-24142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99121" indent="-24142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2122" indent="-24142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45122" indent="-24142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18121" indent="-24142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1121" indent="-24142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1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3261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2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23090869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3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20465266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7060" indent="-281367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6173" indent="-22478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1866" indent="-22478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47559" indent="-22478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87959" indent="-2247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28360" indent="-2247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8760" indent="-2247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09162" indent="-2247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3304D05-A84D-4441-8924-E5231297304E}" type="slidenum">
              <a:rPr lang="en-US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4</a:t>
            </a:fld>
            <a:endParaRPr lang="en-US" altLang="en-US" dirty="0" smtClean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535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</p:spTree>
    <p:extLst>
      <p:ext uri="{BB962C8B-B14F-4D97-AF65-F5344CB8AC3E}">
        <p14:creationId xmlns:p14="http://schemas.microsoft.com/office/powerpoint/2010/main" val="1755073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3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171626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11331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5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6315218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6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616530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7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4095176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8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9131018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9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220707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4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1"/>
          <p:cNvSpPr>
            <a:spLocks noChangeAspect="1" noChangeArrowheads="1"/>
          </p:cNvSpPr>
          <p:nvPr userDrawn="1"/>
        </p:nvSpPr>
        <p:spPr bwMode="auto">
          <a:xfrm>
            <a:off x="2825750" y="5821363"/>
            <a:ext cx="4241800" cy="25876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pl-PL" smtClean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Calibri" panose="020F0502020204030204" pitchFamily="34" charset="0"/>
                <a:cs typeface="Arial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465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1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47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grpSp>
        <p:nvGrpSpPr>
          <p:cNvPr id="5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6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7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1D9524-E003-424D-AD05-D830B7155F1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570349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5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F5A4CA-94EE-457B-AF5B-7022A892C366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7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8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9" name="Rectangle 8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3802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EE28BC20-15AD-4813-B02C-945E78E4EF78}" type="datetimeFigureOut">
              <a:rPr lang="pl-PL" smtClean="0"/>
              <a:t>28.01.20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C205E620-9DF6-41DB-9499-58CA8BB1439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014819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424695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7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AutoShape 1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028" name="Text Placeholder 12"/>
          <p:cNvSpPr>
            <a:spLocks noGrp="1"/>
          </p:cNvSpPr>
          <p:nvPr userDrawn="1">
            <p:ph type="body" idx="1"/>
          </p:nvPr>
        </p:nvSpPr>
        <p:spPr bwMode="auto">
          <a:xfrm>
            <a:off x="454025" y="1508125"/>
            <a:ext cx="8997950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ext styles</a:t>
            </a:r>
          </a:p>
          <a:p>
            <a:pPr lvl="1"/>
            <a:r>
              <a:rPr lang="pl-PL" altLang="en-US" smtClean="0"/>
              <a:t>Second level</a:t>
            </a:r>
          </a:p>
          <a:p>
            <a:pPr lvl="2"/>
            <a:r>
              <a:rPr lang="pl-PL" altLang="en-US" smtClean="0"/>
              <a:t>Third level</a:t>
            </a:r>
          </a:p>
          <a:p>
            <a:pPr lvl="3"/>
            <a:r>
              <a:rPr lang="pl-PL" altLang="en-US" smtClean="0"/>
              <a:t>Fourth level</a:t>
            </a:r>
          </a:p>
          <a:p>
            <a:pPr lvl="4"/>
            <a:r>
              <a:rPr lang="pl-PL" altLang="en-US" smtClean="0"/>
              <a:t>Fifth level</a:t>
            </a:r>
            <a:endParaRPr lang="pl-PL" altLang="en-US" dirty="0" smtClean="0"/>
          </a:p>
        </p:txBody>
      </p:sp>
      <p:sp>
        <p:nvSpPr>
          <p:cNvPr id="1029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454025" y="295275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itle style</a:t>
            </a:r>
          </a:p>
        </p:txBody>
      </p:sp>
      <p:grpSp>
        <p:nvGrpSpPr>
          <p:cNvPr id="1030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12" name="flag_poland" descr="Datei:Flag of Poland.svg"/>
            <p:cNvPicPr>
              <a:picLocks noChangeArrowheads="1"/>
            </p:cNvPicPr>
            <p:nvPr/>
          </p:nvPicPr>
          <p:blipFill>
            <a:blip r:embed="rId9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14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5" name="Rectangle 14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B85C5F7-918F-4500-8B15-6B3439F14B4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4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D568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8.xml"/><Relationship Id="rId11" Type="http://schemas.openxmlformats.org/officeDocument/2006/relationships/image" Target="../media/image5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26.xml"/><Relationship Id="rId9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3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5.xml"/><Relationship Id="rId11" Type="http://schemas.openxmlformats.org/officeDocument/2006/relationships/hyperlink" Target="https://www.gov.pl/web/cyfryzacja/internet-rzeczy" TargetMode="External"/><Relationship Id="rId5" Type="http://schemas.openxmlformats.org/officeDocument/2006/relationships/tags" Target="../tags/tag34.xml"/><Relationship Id="rId10" Type="http://schemas.openxmlformats.org/officeDocument/2006/relationships/image" Target="../media/image5.emf"/><Relationship Id="rId4" Type="http://schemas.openxmlformats.org/officeDocument/2006/relationships/tags" Target="../tags/tag33.xml"/><Relationship Id="rId9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image" Target="../media/image5.emf"/><Relationship Id="rId2" Type="http://schemas.openxmlformats.org/officeDocument/2006/relationships/tags" Target="../tags/tag36.xml"/><Relationship Id="rId16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notesSlide" Target="../notesSlides/notesSlide13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4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podreczniki.pl/" TargetMode="External"/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40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2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" r="1830"/>
          <a:stretch>
            <a:fillRect/>
          </a:stretch>
        </p:blipFill>
        <p:spPr bwMode="auto">
          <a:xfrm>
            <a:off x="1208584" y="188640"/>
            <a:ext cx="7344816" cy="4865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8841432" y="24011"/>
            <a:ext cx="1055884" cy="434109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7" name="Tytuł 1"/>
          <p:cNvSpPr txBox="1">
            <a:spLocks/>
          </p:cNvSpPr>
          <p:nvPr/>
        </p:nvSpPr>
        <p:spPr bwMode="auto">
          <a:xfrm>
            <a:off x="128464" y="5085184"/>
            <a:ext cx="9577064" cy="143033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1044000" r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800" b="1" dirty="0" smtClean="0">
                <a:solidFill>
                  <a:srgbClr val="0166B6"/>
                </a:solidFill>
                <a:latin typeface="Calibri" panose="020F0502020204030204" pitchFamily="34" charset="0"/>
              </a:rPr>
              <a:t>Program </a:t>
            </a:r>
            <a:r>
              <a:rPr lang="pl-PL" altLang="en-US" sz="2800" b="1" dirty="0">
                <a:solidFill>
                  <a:srgbClr val="0166B6"/>
                </a:solidFill>
                <a:latin typeface="Calibri" panose="020F0502020204030204" pitchFamily="34" charset="0"/>
              </a:rPr>
              <a:t>„Od papierowej do cyfrowej Polski” </a:t>
            </a:r>
            <a:endParaRPr lang="pl-PL" altLang="en-US" sz="2800" b="1" dirty="0" smtClean="0">
              <a:solidFill>
                <a:srgbClr val="0166B6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 smtClean="0">
                <a:solidFill>
                  <a:srgbClr val="0166B6"/>
                </a:solidFill>
                <a:latin typeface="Calibri" panose="020F0502020204030204" pitchFamily="34" charset="0"/>
              </a:rPr>
              <a:t>Sprawozdanie z prac programu za 2019r.</a:t>
            </a:r>
            <a:endParaRPr lang="pl-PL" altLang="en-US" sz="2400" b="1" dirty="0">
              <a:solidFill>
                <a:srgbClr val="0166B6"/>
              </a:solidFill>
              <a:latin typeface="Calibri" panose="020F0502020204030204" pitchFamily="34" charset="0"/>
            </a:endParaRP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>
                <a:solidFill>
                  <a:srgbClr val="5890C8"/>
                </a:solidFill>
                <a:latin typeface="Calibri" panose="020F0502020204030204" pitchFamily="34" charset="0"/>
              </a:rPr>
              <a:t>					</a:t>
            </a:r>
            <a:r>
              <a:rPr lang="pl-PL" altLang="en-US" sz="2000" dirty="0">
                <a:solidFill>
                  <a:srgbClr val="0166B6"/>
                </a:solidFill>
                <a:latin typeface="Calibri" panose="020F0502020204030204" pitchFamily="34" charset="0"/>
              </a:rPr>
              <a:t>s</a:t>
            </a:r>
            <a:r>
              <a:rPr lang="pl-PL" altLang="en-US" sz="2000" dirty="0" smtClean="0">
                <a:solidFill>
                  <a:srgbClr val="0166B6"/>
                </a:solidFill>
                <a:latin typeface="Calibri" panose="020F0502020204030204" pitchFamily="34" charset="0"/>
              </a:rPr>
              <a:t>tyczeń 2020</a:t>
            </a:r>
            <a:endParaRPr lang="pl-PL" altLang="en-US" sz="2000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72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71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6613422" y="2439124"/>
            <a:ext cx="3162535" cy="2387625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wołanie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tualnej Katedry Etyki i Prawa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racowanie projektu i konsultacje </a:t>
            </a:r>
            <a:r>
              <a:rPr lang="pl-PL" sz="130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ityki Rozwoju Sztucznej Inteligencji w Polsce na lata 2019-2027</a:t>
            </a:r>
          </a:p>
          <a:p>
            <a:pPr marL="177800" lvl="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rsztaty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 transformacji cyfrowej/ AI dla administracji publicznej – przeszkolono ponad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0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zędników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ferencja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 w medycynie </a:t>
            </a: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343772" y="1127125"/>
            <a:ext cx="9043054" cy="608319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vacat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 Hubert  Romaniec (MC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Sztuczna Inteligencja </a:t>
            </a:r>
            <a:r>
              <a:rPr lang="pl-PL" altLang="pl-PL" sz="2000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sz="2000" dirty="0">
                <a:solidFill>
                  <a:srgbClr val="0166B6"/>
                </a:solidFill>
              </a:rPr>
              <a:t>zakresu </a:t>
            </a:r>
            <a:r>
              <a:rPr lang="pl-PL" altLang="pl-PL" sz="2000" dirty="0" smtClean="0">
                <a:solidFill>
                  <a:srgbClr val="0166B6"/>
                </a:solidFill>
              </a:rPr>
              <a:t>budowy </a:t>
            </a:r>
            <a:r>
              <a:rPr lang="pl-PL" altLang="pl-PL" sz="2000" dirty="0">
                <a:solidFill>
                  <a:srgbClr val="0166B6"/>
                </a:solidFill>
              </a:rPr>
              <a:t>środowiska dla lepszego rozwoju i wykorzystania </a:t>
            </a:r>
            <a:r>
              <a:rPr lang="pl-PL" altLang="pl-PL" sz="2000" dirty="0" smtClean="0">
                <a:solidFill>
                  <a:srgbClr val="0166B6"/>
                </a:solidFill>
              </a:rPr>
              <a:t>SI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613423" y="2089073"/>
            <a:ext cx="296970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Kluczowe osiągnięcia w 2019r. 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25" name="Group 31"/>
          <p:cNvGrpSpPr>
            <a:grpSpLocks/>
          </p:cNvGrpSpPr>
          <p:nvPr/>
        </p:nvGrpSpPr>
        <p:grpSpPr bwMode="auto">
          <a:xfrm>
            <a:off x="454025" y="1151575"/>
            <a:ext cx="739847" cy="583869"/>
            <a:chOff x="1019177" y="1648406"/>
            <a:chExt cx="869682" cy="740783"/>
          </a:xfrm>
        </p:grpSpPr>
        <p:grpSp>
          <p:nvGrpSpPr>
            <p:cNvPr id="2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29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1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2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3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28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35" name="Prostokąt zaokrąglony 34"/>
          <p:cNvSpPr/>
          <p:nvPr/>
        </p:nvSpPr>
        <p:spPr>
          <a:xfrm>
            <a:off x="6192524" y="1101095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październiku 2018 r. </a:t>
            </a:r>
          </a:p>
        </p:txBody>
      </p:sp>
      <p:graphicFrame>
        <p:nvGraphicFramePr>
          <p:cNvPr id="22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911091"/>
              </p:ext>
            </p:extLst>
          </p:nvPr>
        </p:nvGraphicFramePr>
        <p:xfrm>
          <a:off x="562117" y="2380142"/>
          <a:ext cx="5154289" cy="35957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8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656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979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6362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9526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426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w MC roboczej platformy dla poszukiwania synergii międzysektorowych </a:t>
                      </a:r>
                    </a:p>
                    <a:p>
                      <a:pPr algn="l" rtl="0" fontAlgn="ctr"/>
                      <a:endParaRPr lang="pl-PL" sz="900" b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Wskazanie ew. nisz polskiej gospodarki pod kątem potencjału SI</a:t>
                      </a:r>
                    </a:p>
                    <a:p>
                      <a:pPr algn="l" rtl="0" fontAlgn="ctr"/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1" i="0" u="none" strike="noStrike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0181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Konkretne propozycje wz. budowania przewag konkurencyjnych, interwencji państwa, propozycji działań, finansowania, regulacji, projektów na styku administracji, biznesu, nauki i NGO (zostaną ujęte w Strategii AI)</a:t>
                      </a:r>
                    </a:p>
                    <a:p>
                      <a:pPr algn="l" rtl="0" fontAlgn="ctr"/>
                      <a:endParaRPr lang="pl-PL" sz="900" i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1 2020</a:t>
                      </a:r>
                    </a:p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62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Ew. wyłonienie optymalnego sposobu administrowania procesem SI (zostanie</a:t>
                      </a:r>
                      <a:r>
                        <a:rPr lang="pl-PL" sz="900" b="0" baseline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 zaproponowany w Strategii AI)</a:t>
                      </a:r>
                      <a:endParaRPr lang="pl-PL" sz="900" b="0" dirty="0" smtClean="0">
                        <a:solidFill>
                          <a:srgbClr val="0070C0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  <a:p>
                      <a:pPr algn="l" rtl="0" fontAlgn="ctr"/>
                      <a:endParaRPr lang="pl-PL" sz="900" i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1 2020</a:t>
                      </a:r>
                    </a:p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720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Zintegrowanie rozproszonych działań w ramach polskiej administracji</a:t>
                      </a:r>
                    </a:p>
                    <a:p>
                      <a:pPr algn="l" rtl="0" fontAlgn="ctr"/>
                      <a:endParaRPr lang="pl-PL" sz="900" b="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17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kern="1200" dirty="0" smtClean="0">
                          <a:solidFill>
                            <a:srgbClr val="0070C0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Konferencja AI</a:t>
                      </a:r>
                    </a:p>
                    <a:p>
                      <a:pPr algn="l" rtl="0" fontAlgn="ctr"/>
                      <a:endParaRPr lang="pl-PL" sz="900" b="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17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070C0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strategii/planu działań/białej księgi na rzecz SI</a:t>
                      </a:r>
                    </a:p>
                    <a:p>
                      <a:pPr algn="l" rtl="0" fontAlgn="ctr"/>
                      <a:endParaRPr lang="pl-PL" sz="900" b="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1</a:t>
                      </a:r>
                      <a:r>
                        <a:rPr lang="pl-PL" sz="1100" b="1" kern="1200" baseline="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</a:p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clipart_tick"/>
          <p:cNvSpPr>
            <a:spLocks noChangeAspect="1"/>
          </p:cNvSpPr>
          <p:nvPr/>
        </p:nvSpPr>
        <p:spPr bwMode="gray">
          <a:xfrm>
            <a:off x="4787122" y="3212976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" name="clipart_tick"/>
          <p:cNvSpPr>
            <a:spLocks noChangeAspect="1"/>
          </p:cNvSpPr>
          <p:nvPr/>
        </p:nvSpPr>
        <p:spPr bwMode="gray">
          <a:xfrm>
            <a:off x="4799281" y="3528739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clipart_tick"/>
          <p:cNvSpPr>
            <a:spLocks noChangeAspect="1"/>
          </p:cNvSpPr>
          <p:nvPr/>
        </p:nvSpPr>
        <p:spPr bwMode="gray">
          <a:xfrm>
            <a:off x="4791189" y="5085184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clipart_tick"/>
          <p:cNvSpPr>
            <a:spLocks noChangeAspect="1"/>
          </p:cNvSpPr>
          <p:nvPr/>
        </p:nvSpPr>
        <p:spPr bwMode="gray">
          <a:xfrm>
            <a:off x="4791189" y="5441801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Oval 140"/>
          <p:cNvSpPr/>
          <p:nvPr/>
        </p:nvSpPr>
        <p:spPr bwMode="auto">
          <a:xfrm>
            <a:off x="4779276" y="4017970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Oval 140"/>
          <p:cNvSpPr/>
          <p:nvPr/>
        </p:nvSpPr>
        <p:spPr bwMode="auto">
          <a:xfrm>
            <a:off x="4779276" y="463038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Oval 140"/>
          <p:cNvSpPr/>
          <p:nvPr/>
        </p:nvSpPr>
        <p:spPr bwMode="auto">
          <a:xfrm>
            <a:off x="4767066" y="5756333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Oval 141"/>
          <p:cNvSpPr/>
          <p:nvPr>
            <p:custDataLst>
              <p:tags r:id="rId4"/>
            </p:custDataLst>
          </p:nvPr>
        </p:nvSpPr>
        <p:spPr bwMode="gray">
          <a:xfrm>
            <a:off x="4287044" y="3178300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Oval 141"/>
          <p:cNvSpPr/>
          <p:nvPr>
            <p:custDataLst>
              <p:tags r:id="rId5"/>
            </p:custDataLst>
          </p:nvPr>
        </p:nvSpPr>
        <p:spPr bwMode="gray">
          <a:xfrm>
            <a:off x="4287044" y="3533278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Oval 141"/>
          <p:cNvSpPr/>
          <p:nvPr>
            <p:custDataLst>
              <p:tags r:id="rId6"/>
            </p:custDataLst>
          </p:nvPr>
        </p:nvSpPr>
        <p:spPr bwMode="gray">
          <a:xfrm>
            <a:off x="4290245" y="5060328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Oval 141"/>
          <p:cNvSpPr/>
          <p:nvPr>
            <p:custDataLst>
              <p:tags r:id="rId7"/>
            </p:custDataLst>
          </p:nvPr>
        </p:nvSpPr>
        <p:spPr bwMode="gray">
          <a:xfrm>
            <a:off x="4295522" y="5424463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46" name="Grupa 45"/>
          <p:cNvGrpSpPr/>
          <p:nvPr/>
        </p:nvGrpSpPr>
        <p:grpSpPr>
          <a:xfrm>
            <a:off x="4300189" y="4052574"/>
            <a:ext cx="223087" cy="209515"/>
            <a:chOff x="3762154" y="6525499"/>
            <a:chExt cx="223087" cy="209515"/>
          </a:xfrm>
        </p:grpSpPr>
        <p:sp>
          <p:nvSpPr>
            <p:cNvPr id="47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9" name="Grupa 48"/>
          <p:cNvGrpSpPr/>
          <p:nvPr/>
        </p:nvGrpSpPr>
        <p:grpSpPr>
          <a:xfrm>
            <a:off x="4301762" y="4562372"/>
            <a:ext cx="223087" cy="209515"/>
            <a:chOff x="3762154" y="6525499"/>
            <a:chExt cx="223087" cy="209515"/>
          </a:xfrm>
        </p:grpSpPr>
        <p:sp>
          <p:nvSpPr>
            <p:cNvPr id="50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2" name="Grupa 51"/>
          <p:cNvGrpSpPr/>
          <p:nvPr/>
        </p:nvGrpSpPr>
        <p:grpSpPr>
          <a:xfrm>
            <a:off x="4290245" y="5728559"/>
            <a:ext cx="223087" cy="209515"/>
            <a:chOff x="3762154" y="6525499"/>
            <a:chExt cx="223087" cy="209515"/>
          </a:xfrm>
        </p:grpSpPr>
        <p:sp>
          <p:nvSpPr>
            <p:cNvPr id="53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56" name="Łącznik prosty ze strzałką 55"/>
          <p:cNvCxnSpPr/>
          <p:nvPr/>
        </p:nvCxnSpPr>
        <p:spPr>
          <a:xfrm flipV="1">
            <a:off x="268083" y="4145829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Łącznik prosty ze strzałką 56"/>
          <p:cNvCxnSpPr/>
          <p:nvPr/>
        </p:nvCxnSpPr>
        <p:spPr>
          <a:xfrm flipV="1">
            <a:off x="280119" y="4662359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Łącznik prosty ze strzałką 57"/>
          <p:cNvCxnSpPr/>
          <p:nvPr/>
        </p:nvCxnSpPr>
        <p:spPr>
          <a:xfrm flipV="1">
            <a:off x="208791" y="581913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358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77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  <a:solidFill>
            <a:schemeClr val="bg1"/>
          </a:solidFill>
        </p:spPr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Od lipca 2019r. </a:t>
            </a:r>
            <a:r>
              <a:rPr lang="pl-PL" altLang="pl-PL" sz="2000" dirty="0">
                <a:solidFill>
                  <a:srgbClr val="0166B6"/>
                </a:solidFill>
              </a:rPr>
              <a:t>w ramach strumienia </a:t>
            </a:r>
            <a:r>
              <a:rPr lang="pl-PL" sz="2000" kern="2400" dirty="0">
                <a:solidFill>
                  <a:srgbClr val="DC6E00"/>
                </a:solidFill>
              </a:rPr>
              <a:t>Sztuczna Inteligencja </a:t>
            </a:r>
            <a:r>
              <a:rPr lang="pl-PL" altLang="pl-PL" sz="2000" dirty="0" smtClean="0">
                <a:solidFill>
                  <a:srgbClr val="0166B6"/>
                </a:solidFill>
              </a:rPr>
              <a:t>realizowany jest </a:t>
            </a:r>
            <a:r>
              <a:rPr lang="pl-PL" sz="2000" kern="2400" dirty="0" smtClean="0">
                <a:solidFill>
                  <a:srgbClr val="0070C0"/>
                </a:solidFill>
              </a:rPr>
              <a:t>Program AI</a:t>
            </a:r>
            <a:endParaRPr lang="pl-PL" altLang="pl-PL" sz="2000" dirty="0">
              <a:solidFill>
                <a:srgbClr val="0070C0"/>
              </a:solidFill>
            </a:endParaRPr>
          </a:p>
        </p:txBody>
      </p:sp>
      <p:pic>
        <p:nvPicPr>
          <p:cNvPr id="37" name="Obraz 3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536" y="1340769"/>
            <a:ext cx="6480720" cy="45362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8605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480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6254745" y="2305572"/>
            <a:ext cx="3288215" cy="3432257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54024" y="1097572"/>
            <a:ext cx="8963472" cy="58247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drzej Dulka PIIT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chał Wiśniewski (MC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Internet rzeczy </a:t>
            </a:r>
            <a:r>
              <a:rPr lang="pl-PL" altLang="pl-PL" sz="2000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sz="2000" dirty="0">
                <a:solidFill>
                  <a:srgbClr val="0166B6"/>
                </a:solidFill>
              </a:rPr>
              <a:t>zakresu </a:t>
            </a:r>
            <a:r>
              <a:rPr lang="pl-PL" altLang="pl-PL" sz="2000" dirty="0" smtClean="0">
                <a:solidFill>
                  <a:srgbClr val="0166B6"/>
                </a:solidFill>
              </a:rPr>
              <a:t>zniesienia </a:t>
            </a:r>
            <a:r>
              <a:rPr lang="pl-PL" altLang="pl-PL" sz="2000" dirty="0">
                <a:solidFill>
                  <a:srgbClr val="0166B6"/>
                </a:solidFill>
              </a:rPr>
              <a:t>barier </a:t>
            </a:r>
            <a:r>
              <a:rPr lang="pl-PL" altLang="pl-PL" sz="2000" dirty="0" smtClean="0">
                <a:solidFill>
                  <a:srgbClr val="0166B6"/>
                </a:solidFill>
              </a:rPr>
              <a:t>prawnych </a:t>
            </a:r>
            <a:r>
              <a:rPr lang="pl-PL" altLang="pl-PL" sz="2000" dirty="0">
                <a:solidFill>
                  <a:srgbClr val="0166B6"/>
                </a:solidFill>
              </a:rPr>
              <a:t>oraz </a:t>
            </a:r>
            <a:r>
              <a:rPr lang="pl-PL" altLang="pl-PL" sz="2000" dirty="0" smtClean="0">
                <a:solidFill>
                  <a:srgbClr val="0166B6"/>
                </a:solidFill>
              </a:rPr>
              <a:t>wprowadzenia </a:t>
            </a:r>
            <a:r>
              <a:rPr lang="pl-PL" altLang="pl-PL" sz="2000" dirty="0">
                <a:solidFill>
                  <a:srgbClr val="0166B6"/>
                </a:solidFill>
              </a:rPr>
              <a:t>regulacji stymulujących rynek w zakresie </a:t>
            </a:r>
            <a:r>
              <a:rPr lang="pl-PL" altLang="pl-PL" sz="2000" dirty="0" err="1" smtClean="0">
                <a:solidFill>
                  <a:srgbClr val="0166B6"/>
                </a:solidFill>
              </a:rPr>
              <a:t>IoT</a:t>
            </a:r>
            <a:endParaRPr lang="pl-PL" altLang="pl-PL" sz="2000" dirty="0">
              <a:solidFill>
                <a:srgbClr val="0166B6"/>
              </a:solidFill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635429" y="1998009"/>
            <a:ext cx="3004396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Kluczowe osiągnięcia w 2019r.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 bwMode="auto">
          <a:xfrm>
            <a:off x="6335817" y="2305572"/>
            <a:ext cx="3215513" cy="4055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200" dirty="0" smtClean="0">
              <a:solidFill>
                <a:srgbClr val="000000"/>
              </a:solidFill>
              <a:latin typeface="Calibri" pitchFamily="34" charset="0"/>
              <a:cs typeface="Calibri" panose="020F0502020204030204" pitchFamily="34" charset="0"/>
            </a:endParaRP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port  „</a:t>
            </a:r>
            <a:r>
              <a:rPr lang="pl-PL" sz="13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 polskiej gospodarce”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ferencja  „Perspektywy finansowania i wsparcia firm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 Polsce” - zorganizowana we współpracy z Kancelarią Prezydenta RP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ona na portalu Gov.pl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madząca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cje o dotychczasowych dokonaniach, w tym o dostępnych źródłach finansowania rozwiązań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T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https://www.gov.pl/web/cyfryzacja/internet-rzeczy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pl-PL" sz="1300" dirty="0" smtClean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porty z </a:t>
            </a:r>
            <a:r>
              <a:rPr lang="pl-PL" sz="1300" dirty="0" smtClean="0">
                <a:solidFill>
                  <a:srgbClr val="0166B6"/>
                </a:solidFill>
                <a:latin typeface="Calibri" pitchFamily="34" charset="0"/>
                <a:cs typeface="Arial" pitchFamily="34" charset="0"/>
              </a:rPr>
              <a:t>II </a:t>
            </a:r>
            <a:r>
              <a:rPr lang="pl-PL" sz="1300" dirty="0">
                <a:solidFill>
                  <a:srgbClr val="0166B6"/>
                </a:solidFill>
                <a:latin typeface="Calibri" pitchFamily="34" charset="0"/>
                <a:cs typeface="Arial" pitchFamily="34" charset="0"/>
              </a:rPr>
              <a:t>etapu prac grupy roboczej (#Projekty i Finansowanie #Standaryzacja #Legislacja) </a:t>
            </a:r>
            <a:endParaRPr lang="pl-PL" sz="1300" dirty="0">
              <a:solidFill>
                <a:srgbClr val="0166B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l-PL" sz="12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l-PL" altLang="pl-PL" sz="12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2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26" name="Group 31"/>
          <p:cNvGrpSpPr>
            <a:grpSpLocks/>
          </p:cNvGrpSpPr>
          <p:nvPr/>
        </p:nvGrpSpPr>
        <p:grpSpPr bwMode="auto">
          <a:xfrm>
            <a:off x="613983" y="1142158"/>
            <a:ext cx="622367" cy="493303"/>
            <a:chOff x="1019177" y="1648406"/>
            <a:chExt cx="869682" cy="740783"/>
          </a:xfrm>
        </p:grpSpPr>
        <p:grpSp>
          <p:nvGrpSpPr>
            <p:cNvPr id="28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30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1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2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3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29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21" name="Prostokąt zaokrąglony 20"/>
          <p:cNvSpPr/>
          <p:nvPr/>
        </p:nvSpPr>
        <p:spPr>
          <a:xfrm>
            <a:off x="6220528" y="1104065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październiku 2018 r. </a:t>
            </a:r>
          </a:p>
        </p:txBody>
      </p:sp>
      <p:graphicFrame>
        <p:nvGraphicFramePr>
          <p:cNvPr id="22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4684241"/>
              </p:ext>
            </p:extLst>
          </p:nvPr>
        </p:nvGraphicFramePr>
        <p:xfrm>
          <a:off x="470618" y="2018023"/>
          <a:ext cx="5454628" cy="42961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53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694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60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0405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968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32047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8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Raporty z II etapu prac grupy roboczej (#Projekty i Finansowanie #Standaryzacja #Legislacja) 16.12.2019r.</a:t>
                      </a:r>
                      <a:endParaRPr lang="pl-PL" sz="900" b="0" dirty="0" smtClean="0">
                        <a:solidFill>
                          <a:srgbClr val="0166B6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72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Podjęcie ewentualnych </a:t>
                      </a: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inicjatyw ustawodawczych na bazie raportu # Legislacja </a:t>
                      </a:r>
                      <a:r>
                        <a:rPr lang="pl-PL" sz="900" b="0" baseline="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IoT</a:t>
                      </a:r>
                      <a:endParaRPr lang="pl-PL" sz="900" b="0" dirty="0" smtClean="0">
                        <a:solidFill>
                          <a:srgbClr val="0166B6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 err="1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r>
                        <a:rPr lang="pl-PL" sz="1100" b="1" i="0" u="none" strike="noStrike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pl-PL" sz="1100" b="1" i="0" u="none" strike="noStrike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97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Przyjęcie do realizacji projektu wybranego na podstawie prezentacji raportów</a:t>
                      </a: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 z II etapu prac grupy roboczej</a:t>
                      </a: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 </a:t>
                      </a: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(#Projekty i Finansowanie #Standaryzacja #Legislacja)</a:t>
                      </a:r>
                      <a:endParaRPr lang="pl-PL" sz="900" b="0" dirty="0" smtClean="0">
                        <a:solidFill>
                          <a:srgbClr val="0166B6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 2020</a:t>
                      </a:r>
                    </a:p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62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Opublikowanie Mapy</a:t>
                      </a:r>
                      <a:r>
                        <a:rPr lang="pl-PL" sz="900" b="0" kern="120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Innowacji i stworzenie</a:t>
                      </a:r>
                      <a:r>
                        <a:rPr lang="pl-PL" sz="900" b="0" kern="120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na jej bazie</a:t>
                      </a: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biblioteki zawierającej zbiór dobrych praktyk – informacje o wszystkich podejmowanych przez organy administracji publicznej inicjatywach związanych z </a:t>
                      </a:r>
                      <a:r>
                        <a:rPr lang="pl-PL" sz="900" b="0" kern="120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IoT</a:t>
                      </a: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(w tym w szczególności informacje o działaniach na rzecz rozwoju inteligentnych miast i wsi) – zgodnie z postulatem Raportu „</a:t>
                      </a:r>
                      <a:r>
                        <a:rPr lang="pl-PL" sz="900" b="0" kern="120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IoT</a:t>
                      </a: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w polskiej gospodarce”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 2020</a:t>
                      </a:r>
                    </a:p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192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Opublikowanie leksykonu polskich pojęć </a:t>
                      </a:r>
                      <a:r>
                        <a:rPr lang="pl-PL" sz="900" b="0" kern="120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IoT</a:t>
                      </a: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 oraz listy aktualnie stosowanych standardów/ certyfikatów mających zastosowanie dla urządzeń </a:t>
                      </a:r>
                      <a:r>
                        <a:rPr lang="pl-PL" sz="900" b="0" kern="120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IoT</a:t>
                      </a:r>
                      <a:endParaRPr lang="pl-PL" sz="900" b="0" kern="1200" dirty="0" smtClean="0">
                        <a:solidFill>
                          <a:srgbClr val="0166B6"/>
                        </a:solidFill>
                        <a:latin typeface="Calibri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4 2020</a:t>
                      </a:r>
                    </a:p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17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kern="1200" dirty="0" smtClean="0">
                          <a:solidFill>
                            <a:srgbClr val="0166B6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Realizacja konferencji regionalnych  „Perspektywy dla rozwoju Internetu Rzeczy w Polsce- Samorząd Przyszłości” – organizacja MC we współpracy z Kancelarią Prezydenta RP (styczeń- kwiecień 2020r.)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 2020</a:t>
                      </a:r>
                    </a:p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2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Współdziałanie</a:t>
                      </a: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 grupy </a:t>
                      </a:r>
                      <a:r>
                        <a:rPr lang="pl-PL" sz="900" b="0" baseline="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IoT</a:t>
                      </a:r>
                      <a:r>
                        <a:rPr lang="pl-PL" sz="900" b="0" baseline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 z innymi grupami roboczymi MC oraz innych Ministerstw</a:t>
                      </a:r>
                      <a:endParaRPr lang="pl-PL" sz="900" b="0" dirty="0" smtClean="0">
                        <a:solidFill>
                          <a:srgbClr val="0166B6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ziałanie</a:t>
                      </a:r>
                      <a:r>
                        <a:rPr lang="pl-PL" sz="1000" b="1" kern="1200" baseline="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iągłe</a:t>
                      </a:r>
                      <a:endParaRPr lang="pl-PL" sz="1000" b="1" kern="1200" dirty="0" smtClean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627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anglojęzycznej wersji strony poświęconej </a:t>
                      </a:r>
                      <a:r>
                        <a:rPr lang="pl-PL" sz="900" b="0" dirty="0" err="1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IoT</a:t>
                      </a:r>
                      <a:r>
                        <a:rPr lang="pl-PL" sz="900" b="0" dirty="0" smtClean="0">
                          <a:solidFill>
                            <a:srgbClr val="0166B6"/>
                          </a:solidFill>
                          <a:latin typeface="Calibri" pitchFamily="34" charset="0"/>
                          <a:cs typeface="Arial" pitchFamily="34" charset="0"/>
                        </a:rPr>
                        <a:t> w Polsce</a:t>
                      </a:r>
                    </a:p>
                    <a:p>
                      <a:pPr algn="l" rtl="0" fontAlgn="ctr"/>
                      <a:endParaRPr lang="pl-PL" sz="900" b="0" kern="1200" baseline="0" dirty="0" smtClean="0">
                        <a:solidFill>
                          <a:srgbClr val="0166B6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2 2020</a:t>
                      </a:r>
                    </a:p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3" name="Oval 115"/>
          <p:cNvSpPr/>
          <p:nvPr/>
        </p:nvSpPr>
        <p:spPr bwMode="gray">
          <a:xfrm>
            <a:off x="4448944" y="2742605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" name="Oval 128"/>
          <p:cNvSpPr/>
          <p:nvPr>
            <p:custDataLst>
              <p:tags r:id="rId4"/>
            </p:custDataLst>
          </p:nvPr>
        </p:nvSpPr>
        <p:spPr bwMode="gray">
          <a:xfrm>
            <a:off x="4460358" y="3054631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Oval 128"/>
          <p:cNvSpPr/>
          <p:nvPr>
            <p:custDataLst>
              <p:tags r:id="rId5"/>
            </p:custDataLst>
          </p:nvPr>
        </p:nvSpPr>
        <p:spPr bwMode="gray">
          <a:xfrm>
            <a:off x="4458408" y="348943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Oval 128"/>
          <p:cNvSpPr/>
          <p:nvPr>
            <p:custDataLst>
              <p:tags r:id="rId6"/>
            </p:custDataLst>
          </p:nvPr>
        </p:nvSpPr>
        <p:spPr bwMode="gray">
          <a:xfrm>
            <a:off x="4465525" y="4830122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Arc 110"/>
          <p:cNvSpPr/>
          <p:nvPr/>
        </p:nvSpPr>
        <p:spPr bwMode="gray">
          <a:xfrm>
            <a:off x="4465525" y="4109774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grpSp>
        <p:nvGrpSpPr>
          <p:cNvPr id="38" name="Grupa 37"/>
          <p:cNvGrpSpPr/>
          <p:nvPr/>
        </p:nvGrpSpPr>
        <p:grpSpPr>
          <a:xfrm>
            <a:off x="4478513" y="5264930"/>
            <a:ext cx="223087" cy="209515"/>
            <a:chOff x="3762154" y="6525499"/>
            <a:chExt cx="223087" cy="209515"/>
          </a:xfrm>
        </p:grpSpPr>
        <p:sp>
          <p:nvSpPr>
            <p:cNvPr id="39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1" name="Grupa 40"/>
          <p:cNvGrpSpPr/>
          <p:nvPr/>
        </p:nvGrpSpPr>
        <p:grpSpPr>
          <a:xfrm>
            <a:off x="4465546" y="6054271"/>
            <a:ext cx="223087" cy="209515"/>
            <a:chOff x="3762154" y="6525499"/>
            <a:chExt cx="223087" cy="209515"/>
          </a:xfrm>
        </p:grpSpPr>
        <p:sp>
          <p:nvSpPr>
            <p:cNvPr id="42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44" name="clipart_tick"/>
          <p:cNvSpPr>
            <a:spLocks noChangeAspect="1"/>
          </p:cNvSpPr>
          <p:nvPr/>
        </p:nvSpPr>
        <p:spPr bwMode="gray">
          <a:xfrm>
            <a:off x="5054164" y="2783104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Oval 140"/>
          <p:cNvSpPr/>
          <p:nvPr/>
        </p:nvSpPr>
        <p:spPr bwMode="auto">
          <a:xfrm>
            <a:off x="4964020" y="349627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Oval 140"/>
          <p:cNvSpPr/>
          <p:nvPr/>
        </p:nvSpPr>
        <p:spPr bwMode="auto">
          <a:xfrm>
            <a:off x="4999081" y="4148581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Oval 140"/>
          <p:cNvSpPr/>
          <p:nvPr/>
        </p:nvSpPr>
        <p:spPr bwMode="auto">
          <a:xfrm>
            <a:off x="5005857" y="4841826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Oval 140"/>
          <p:cNvSpPr/>
          <p:nvPr/>
        </p:nvSpPr>
        <p:spPr bwMode="auto">
          <a:xfrm>
            <a:off x="5014154" y="527661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val 140"/>
          <p:cNvSpPr/>
          <p:nvPr/>
        </p:nvSpPr>
        <p:spPr bwMode="auto">
          <a:xfrm>
            <a:off x="5026813" y="6067422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50" name="Łącznik prosty ze strzałką 49"/>
          <p:cNvCxnSpPr/>
          <p:nvPr/>
        </p:nvCxnSpPr>
        <p:spPr>
          <a:xfrm flipV="1">
            <a:off x="200657" y="357756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ze strzałką 50"/>
          <p:cNvCxnSpPr/>
          <p:nvPr/>
        </p:nvCxnSpPr>
        <p:spPr>
          <a:xfrm flipV="1">
            <a:off x="214054" y="4874113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Łącznik prosty ze strzałką 51"/>
          <p:cNvCxnSpPr/>
          <p:nvPr/>
        </p:nvCxnSpPr>
        <p:spPr>
          <a:xfrm flipV="1">
            <a:off x="200657" y="4228544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Łącznik prosty ze strzałką 52"/>
          <p:cNvCxnSpPr/>
          <p:nvPr/>
        </p:nvCxnSpPr>
        <p:spPr>
          <a:xfrm flipV="1">
            <a:off x="213941" y="5361145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Łącznik prosty ze strzałką 53"/>
          <p:cNvCxnSpPr/>
          <p:nvPr/>
        </p:nvCxnSpPr>
        <p:spPr>
          <a:xfrm flipV="1">
            <a:off x="187997" y="5733256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Łącznik prosty ze strzałką 54"/>
          <p:cNvCxnSpPr/>
          <p:nvPr/>
        </p:nvCxnSpPr>
        <p:spPr>
          <a:xfrm flipV="1">
            <a:off x="200657" y="6146754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Łącznik prosty ze strzałką 55"/>
          <p:cNvCxnSpPr/>
          <p:nvPr/>
        </p:nvCxnSpPr>
        <p:spPr>
          <a:xfrm flipV="1">
            <a:off x="218076" y="3168637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67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867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6321152" y="2161806"/>
            <a:ext cx="3456383" cy="2419322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0" algn="l"/>
                <a:tab pos="261938" algn="l"/>
                <a:tab pos="541338" algn="l"/>
              </a:tabLst>
            </a:pP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ałe księgi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la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zastosowania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kena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ako obligacji, weksli elektronicznych w technologii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ieczęci elektronicznej, RODO i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0" algn="l"/>
                <a:tab pos="261938" algn="l"/>
                <a:tab pos="541338" algn="l"/>
              </a:tabLst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sultacje uwarunkowań regulacyjnych dotyczących: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i Rozwoju Rynku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pitałowego, strategii </a:t>
            </a:r>
            <a:r>
              <a:rPr lang="pl-PL" sz="13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tech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zadanie ciągłe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, </a:t>
            </a:r>
            <a:r>
              <a:rPr lang="pl-PL" sz="1300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ate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na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PW (dot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rynku dla niewielkich spółek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icznych).</a:t>
            </a: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06364" y="1079068"/>
            <a:ext cx="8780978" cy="557484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acat</a:t>
            </a:r>
          </a:p>
          <a:p>
            <a:pPr marL="1356874" lvl="3" indent="-194331">
              <a:spcAft>
                <a:spcPts val="650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Piotr Rutkowski (MC)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>
                <a:solidFill>
                  <a:srgbClr val="0166B6"/>
                </a:solidFill>
              </a:rPr>
              <a:t>Strumień</a:t>
            </a:r>
            <a:r>
              <a:rPr lang="pl-PL" altLang="pl-PL" sz="2000" dirty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Rejestry Rozproszone </a:t>
            </a:r>
            <a:r>
              <a:rPr lang="pl-PL" altLang="pl-PL" sz="2000" dirty="0" smtClean="0">
                <a:solidFill>
                  <a:srgbClr val="0166B6"/>
                </a:solidFill>
              </a:rPr>
              <a:t>pracuje nad rozpowszechnieniem technologii </a:t>
            </a:r>
            <a:r>
              <a:rPr lang="pl-PL" altLang="pl-PL" sz="2000" dirty="0" err="1" smtClean="0">
                <a:solidFill>
                  <a:srgbClr val="0166B6"/>
                </a:solidFill>
              </a:rPr>
              <a:t>blockchain</a:t>
            </a:r>
            <a:r>
              <a:rPr lang="pl-PL" altLang="pl-PL" sz="2000" dirty="0" smtClean="0">
                <a:solidFill>
                  <a:srgbClr val="0166B6"/>
                </a:solidFill>
              </a:rPr>
              <a:t> w gospodarce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770912" y="1794371"/>
            <a:ext cx="3015876" cy="2923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. 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07088" y="1153297"/>
            <a:ext cx="524847" cy="432187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23" name="Symbol zastępczy zawartości 2"/>
          <p:cNvSpPr txBox="1">
            <a:spLocks/>
          </p:cNvSpPr>
          <p:nvPr/>
        </p:nvSpPr>
        <p:spPr>
          <a:xfrm>
            <a:off x="4953000" y="3413526"/>
            <a:ext cx="4752527" cy="275177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D5681"/>
              </a:buClr>
              <a:defRPr sz="16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D568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D568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D568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D568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endParaRPr lang="pl-PL" sz="4000" dirty="0">
              <a:latin typeface="+mn-lt"/>
            </a:endParaRPr>
          </a:p>
        </p:txBody>
      </p:sp>
      <p:sp>
        <p:nvSpPr>
          <p:cNvPr id="5" name="Prostokąt zaokrąglony 4"/>
          <p:cNvSpPr/>
          <p:nvPr/>
        </p:nvSpPr>
        <p:spPr>
          <a:xfrm>
            <a:off x="4615334" y="988208"/>
            <a:ext cx="4619669" cy="381183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rozpoczął prace w styczniu 2019 r. </a:t>
            </a:r>
            <a:r>
              <a:rPr lang="pl-PL" sz="11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 redefinicji zakresu działania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/>
          </p:nvPr>
        </p:nvGraphicFramePr>
        <p:xfrm>
          <a:off x="561899" y="1743540"/>
          <a:ext cx="5298306" cy="4638327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276166"/>
                <a:gridCol w="148277"/>
                <a:gridCol w="85923"/>
                <a:gridCol w="2441962"/>
                <a:gridCol w="473770"/>
                <a:gridCol w="792088"/>
                <a:gridCol w="1080120"/>
              </a:tblGrid>
              <a:tr h="467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an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zekiwane zakończenie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entarz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22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ryfikacja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rier prawnych dla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tech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lockachain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Q1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 opracowani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442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</a:t>
                      </a: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y wiodące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442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ksle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lektroniczne w technologii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lockchain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Q4.2019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iała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księg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442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ken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jako obligacj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4.2019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iała księg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516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sta </a:t>
                      </a: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ółka 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kcyjna, niepubliczne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półki akcyjne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2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komendacje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956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ieczęć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elektroniczn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Q4.2019</a:t>
                      </a: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iała księg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442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5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ODO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i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lockchain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Q3.2019</a:t>
                      </a: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iała księg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8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6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ostęp firm leasingowych do CEPIK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Q2.2020 </a:t>
                      </a:r>
                      <a:endParaRPr lang="pl-PL" sz="900" b="1" dirty="0" smtClean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ganizacja zespołu w grupie roboczej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965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7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kenizacja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rejestru cen nieruchomości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Q2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łożenia wdrożenia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4327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8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ektroniczna tożsamość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Q3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rganizacja koordynacji projektów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6913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 prac 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dawczych i </a:t>
                      </a: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dukac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,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rg.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ackatonów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danie</a:t>
                      </a:r>
                      <a:r>
                        <a:rPr lang="pl-PL" sz="900" b="1" baseline="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iągłe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637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trategia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ozwoju Rynku Kapitałowego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8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1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rojekt strategii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Q2.2019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sparcie prac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.Fin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8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2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rategia rozwoju </a:t>
                      </a: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tech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Q3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sparcie prac </a:t>
                      </a: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n.Fin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pl-PL" sz="90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8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1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aseline="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lockchain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w sektorze rolniczym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danie ciągłe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zygotowanie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zkoleń</a:t>
                      </a:r>
                      <a:endParaRPr lang="pl-PL" sz="90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1442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2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Blockchain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w sektorze energetycznym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danie ciągłe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90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024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.3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vate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market GPW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err="1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bd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latforma debaty</a:t>
                      </a: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88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spółpraca międzynarodowa (</a:t>
                      </a:r>
                      <a:r>
                        <a:rPr lang="pl-PL" sz="900" dirty="0" err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pean</a:t>
                      </a: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l-PL" sz="900" dirty="0" err="1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lockchain</a:t>
                      </a: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pl-PL" sz="9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tnership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ATBA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danie ciągłe</a:t>
                      </a:r>
                      <a:endParaRPr lang="pl-PL" sz="900" b="1" dirty="0" smtClean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adanie ciągłe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  <a:tr h="2448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.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racowanie założeń</a:t>
                      </a:r>
                      <a:r>
                        <a:rPr lang="pl-PL" sz="9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polityki państwa </a:t>
                      </a: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900" b="1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Q2.2020</a:t>
                      </a:r>
                      <a:endParaRPr lang="pl-PL" sz="900" b="1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9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0523" marR="60523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18" name="Grupa 17"/>
          <p:cNvGrpSpPr/>
          <p:nvPr/>
        </p:nvGrpSpPr>
        <p:grpSpPr>
          <a:xfrm>
            <a:off x="3693241" y="2249610"/>
            <a:ext cx="168587" cy="170735"/>
            <a:chOff x="3762154" y="6525499"/>
            <a:chExt cx="223087" cy="209515"/>
          </a:xfrm>
        </p:grpSpPr>
        <p:sp>
          <p:nvSpPr>
            <p:cNvPr id="19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clipart_tick"/>
          <p:cNvSpPr>
            <a:spLocks noChangeAspect="1"/>
          </p:cNvSpPr>
          <p:nvPr/>
        </p:nvSpPr>
        <p:spPr bwMode="gray">
          <a:xfrm>
            <a:off x="3698828" y="2474186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clipart_tick"/>
          <p:cNvSpPr>
            <a:spLocks noChangeAspect="1"/>
          </p:cNvSpPr>
          <p:nvPr/>
        </p:nvSpPr>
        <p:spPr bwMode="gray">
          <a:xfrm>
            <a:off x="3697827" y="2687045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" name="clipart_tick"/>
          <p:cNvSpPr>
            <a:spLocks noChangeAspect="1"/>
          </p:cNvSpPr>
          <p:nvPr/>
        </p:nvSpPr>
        <p:spPr bwMode="gray">
          <a:xfrm>
            <a:off x="3697884" y="2991808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5" name="Grupa 24"/>
          <p:cNvGrpSpPr/>
          <p:nvPr/>
        </p:nvGrpSpPr>
        <p:grpSpPr>
          <a:xfrm>
            <a:off x="3682587" y="2860212"/>
            <a:ext cx="171594" cy="154045"/>
            <a:chOff x="3762154" y="6525499"/>
            <a:chExt cx="223087" cy="209515"/>
          </a:xfrm>
        </p:grpSpPr>
        <p:sp>
          <p:nvSpPr>
            <p:cNvPr id="26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clipart_tick"/>
          <p:cNvSpPr>
            <a:spLocks noChangeAspect="1"/>
          </p:cNvSpPr>
          <p:nvPr/>
        </p:nvSpPr>
        <p:spPr bwMode="gray">
          <a:xfrm>
            <a:off x="3705474" y="3146839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9" name="Grupa 28"/>
          <p:cNvGrpSpPr/>
          <p:nvPr/>
        </p:nvGrpSpPr>
        <p:grpSpPr>
          <a:xfrm>
            <a:off x="3675804" y="3369787"/>
            <a:ext cx="179241" cy="155063"/>
            <a:chOff x="1447800" y="6524625"/>
            <a:chExt cx="212999" cy="203200"/>
          </a:xfrm>
        </p:grpSpPr>
        <p:sp>
          <p:nvSpPr>
            <p:cNvPr id="30" name="Oval 134"/>
            <p:cNvSpPr/>
            <p:nvPr>
              <p:custDataLst>
                <p:tags r:id="rId12"/>
              </p:custDataLst>
            </p:nvPr>
          </p:nvSpPr>
          <p:spPr bwMode="gray">
            <a:xfrm>
              <a:off x="1447800" y="652462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Arc 136"/>
            <p:cNvSpPr/>
            <p:nvPr>
              <p:custDataLst>
                <p:tags r:id="rId13"/>
              </p:custDataLst>
            </p:nvPr>
          </p:nvSpPr>
          <p:spPr bwMode="gray">
            <a:xfrm>
              <a:off x="1457599" y="6524625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32" name="Arc 162"/>
          <p:cNvSpPr/>
          <p:nvPr>
            <p:custDataLst>
              <p:tags r:id="rId4"/>
            </p:custDataLst>
          </p:nvPr>
        </p:nvSpPr>
        <p:spPr bwMode="gray">
          <a:xfrm>
            <a:off x="3667011" y="3631838"/>
            <a:ext cx="188171" cy="1607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grpSp>
        <p:nvGrpSpPr>
          <p:cNvPr id="33" name="Grupa 32"/>
          <p:cNvGrpSpPr/>
          <p:nvPr/>
        </p:nvGrpSpPr>
        <p:grpSpPr>
          <a:xfrm>
            <a:off x="3673657" y="3846220"/>
            <a:ext cx="171594" cy="154045"/>
            <a:chOff x="3762154" y="6525499"/>
            <a:chExt cx="223087" cy="209515"/>
          </a:xfrm>
        </p:grpSpPr>
        <p:sp>
          <p:nvSpPr>
            <p:cNvPr id="35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37" name="Arc 162"/>
          <p:cNvSpPr/>
          <p:nvPr>
            <p:custDataLst>
              <p:tags r:id="rId5"/>
            </p:custDataLst>
          </p:nvPr>
        </p:nvSpPr>
        <p:spPr bwMode="gray">
          <a:xfrm>
            <a:off x="3673657" y="4250373"/>
            <a:ext cx="188171" cy="1607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grpSp>
        <p:nvGrpSpPr>
          <p:cNvPr id="38" name="Grupa 37"/>
          <p:cNvGrpSpPr/>
          <p:nvPr/>
        </p:nvGrpSpPr>
        <p:grpSpPr>
          <a:xfrm>
            <a:off x="3652171" y="5889389"/>
            <a:ext cx="171594" cy="154045"/>
            <a:chOff x="3762154" y="6525499"/>
            <a:chExt cx="223087" cy="209515"/>
          </a:xfrm>
        </p:grpSpPr>
        <p:sp>
          <p:nvSpPr>
            <p:cNvPr id="39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2" name="Grupa 41"/>
          <p:cNvGrpSpPr/>
          <p:nvPr/>
        </p:nvGrpSpPr>
        <p:grpSpPr>
          <a:xfrm>
            <a:off x="3640769" y="4647110"/>
            <a:ext cx="179241" cy="155063"/>
            <a:chOff x="1447800" y="6524625"/>
            <a:chExt cx="212999" cy="203200"/>
          </a:xfrm>
        </p:grpSpPr>
        <p:sp>
          <p:nvSpPr>
            <p:cNvPr id="43" name="Oval 134"/>
            <p:cNvSpPr/>
            <p:nvPr>
              <p:custDataLst>
                <p:tags r:id="rId10"/>
              </p:custDataLst>
            </p:nvPr>
          </p:nvSpPr>
          <p:spPr bwMode="gray">
            <a:xfrm>
              <a:off x="1447800" y="652462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Arc 136"/>
            <p:cNvSpPr/>
            <p:nvPr>
              <p:custDataLst>
                <p:tags r:id="rId11"/>
              </p:custDataLst>
            </p:nvPr>
          </p:nvSpPr>
          <p:spPr bwMode="gray">
            <a:xfrm>
              <a:off x="1457599" y="6524625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5" name="Grupa 44"/>
          <p:cNvGrpSpPr/>
          <p:nvPr/>
        </p:nvGrpSpPr>
        <p:grpSpPr>
          <a:xfrm>
            <a:off x="3649015" y="4883147"/>
            <a:ext cx="179241" cy="155063"/>
            <a:chOff x="1447800" y="6524625"/>
            <a:chExt cx="212999" cy="203200"/>
          </a:xfrm>
        </p:grpSpPr>
        <p:sp>
          <p:nvSpPr>
            <p:cNvPr id="46" name="Oval 134"/>
            <p:cNvSpPr/>
            <p:nvPr>
              <p:custDataLst>
                <p:tags r:id="rId8"/>
              </p:custDataLst>
            </p:nvPr>
          </p:nvSpPr>
          <p:spPr bwMode="gray">
            <a:xfrm>
              <a:off x="1447800" y="652462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Arc 136"/>
            <p:cNvSpPr/>
            <p:nvPr>
              <p:custDataLst>
                <p:tags r:id="rId9"/>
              </p:custDataLst>
            </p:nvPr>
          </p:nvSpPr>
          <p:spPr bwMode="gray">
            <a:xfrm>
              <a:off x="1457599" y="6524625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Grupa 47"/>
          <p:cNvGrpSpPr/>
          <p:nvPr/>
        </p:nvGrpSpPr>
        <p:grpSpPr>
          <a:xfrm>
            <a:off x="3658436" y="5200951"/>
            <a:ext cx="179241" cy="155063"/>
            <a:chOff x="1447800" y="6524625"/>
            <a:chExt cx="212999" cy="203200"/>
          </a:xfrm>
        </p:grpSpPr>
        <p:sp>
          <p:nvSpPr>
            <p:cNvPr id="49" name="Oval 134"/>
            <p:cNvSpPr/>
            <p:nvPr>
              <p:custDataLst>
                <p:tags r:id="rId6"/>
              </p:custDataLst>
            </p:nvPr>
          </p:nvSpPr>
          <p:spPr bwMode="gray">
            <a:xfrm>
              <a:off x="1447800" y="652462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Arc 136"/>
            <p:cNvSpPr/>
            <p:nvPr>
              <p:custDataLst>
                <p:tags r:id="rId7"/>
              </p:custDataLst>
            </p:nvPr>
          </p:nvSpPr>
          <p:spPr bwMode="gray">
            <a:xfrm>
              <a:off x="1457599" y="6524625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1" name="Grupa 50"/>
          <p:cNvGrpSpPr/>
          <p:nvPr/>
        </p:nvGrpSpPr>
        <p:grpSpPr>
          <a:xfrm>
            <a:off x="3658795" y="5448989"/>
            <a:ext cx="171594" cy="154045"/>
            <a:chOff x="3762154" y="6525499"/>
            <a:chExt cx="223087" cy="209515"/>
          </a:xfrm>
        </p:grpSpPr>
        <p:sp>
          <p:nvSpPr>
            <p:cNvPr id="52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4" name="Grupa 53"/>
          <p:cNvGrpSpPr/>
          <p:nvPr/>
        </p:nvGrpSpPr>
        <p:grpSpPr>
          <a:xfrm>
            <a:off x="3658795" y="5664546"/>
            <a:ext cx="171594" cy="154045"/>
            <a:chOff x="3762154" y="6525499"/>
            <a:chExt cx="223087" cy="209515"/>
          </a:xfrm>
        </p:grpSpPr>
        <p:sp>
          <p:nvSpPr>
            <p:cNvPr id="55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57" name="Łącznik prosty ze strzałką 56"/>
          <p:cNvCxnSpPr/>
          <p:nvPr/>
        </p:nvCxnSpPr>
        <p:spPr>
          <a:xfrm flipV="1">
            <a:off x="241482" y="2297486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Łącznik prosty ze strzałką 57"/>
          <p:cNvCxnSpPr/>
          <p:nvPr/>
        </p:nvCxnSpPr>
        <p:spPr>
          <a:xfrm flipV="1">
            <a:off x="233251" y="2925767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Łącznik prosty ze strzałką 58"/>
          <p:cNvCxnSpPr/>
          <p:nvPr/>
        </p:nvCxnSpPr>
        <p:spPr>
          <a:xfrm flipV="1">
            <a:off x="233250" y="3400908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Łącznik prosty ze strzałką 59"/>
          <p:cNvCxnSpPr/>
          <p:nvPr/>
        </p:nvCxnSpPr>
        <p:spPr>
          <a:xfrm flipV="1">
            <a:off x="233253" y="3722150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Łącznik prosty ze strzałką 60"/>
          <p:cNvCxnSpPr/>
          <p:nvPr/>
        </p:nvCxnSpPr>
        <p:spPr>
          <a:xfrm flipV="1">
            <a:off x="241483" y="392481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Łącznik prosty ze strzałką 61"/>
          <p:cNvCxnSpPr/>
          <p:nvPr/>
        </p:nvCxnSpPr>
        <p:spPr>
          <a:xfrm flipV="1">
            <a:off x="245574" y="4352566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Łącznik prosty ze strzałką 62"/>
          <p:cNvCxnSpPr/>
          <p:nvPr/>
        </p:nvCxnSpPr>
        <p:spPr>
          <a:xfrm flipV="1">
            <a:off x="257421" y="4648980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Łącznik prosty ze strzałką 63"/>
          <p:cNvCxnSpPr/>
          <p:nvPr/>
        </p:nvCxnSpPr>
        <p:spPr>
          <a:xfrm flipV="1">
            <a:off x="257421" y="4960678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Łącznik prosty ze strzałką 64"/>
          <p:cNvCxnSpPr/>
          <p:nvPr/>
        </p:nvCxnSpPr>
        <p:spPr>
          <a:xfrm flipV="1">
            <a:off x="254537" y="5218600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Łącznik prosty ze strzałką 65"/>
          <p:cNvCxnSpPr/>
          <p:nvPr/>
        </p:nvCxnSpPr>
        <p:spPr>
          <a:xfrm flipV="1">
            <a:off x="271383" y="5513160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Łącznik prosty ze strzałką 66"/>
          <p:cNvCxnSpPr/>
          <p:nvPr/>
        </p:nvCxnSpPr>
        <p:spPr>
          <a:xfrm flipV="1">
            <a:off x="263500" y="567376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Łącznik prosty ze strzałką 67"/>
          <p:cNvCxnSpPr/>
          <p:nvPr/>
        </p:nvCxnSpPr>
        <p:spPr>
          <a:xfrm flipV="1">
            <a:off x="257421" y="589403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Łącznik prosty ze strzałką 68"/>
          <p:cNvCxnSpPr/>
          <p:nvPr/>
        </p:nvCxnSpPr>
        <p:spPr>
          <a:xfrm flipV="1">
            <a:off x="262595" y="6160731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0328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929979" y="644229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5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9979" y="644229"/>
                        <a:ext cx="1289" cy="12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61" name="Title 1"/>
          <p:cNvSpPr>
            <a:spLocks noGrp="1"/>
          </p:cNvSpPr>
          <p:nvPr>
            <p:ph type="title"/>
          </p:nvPr>
        </p:nvSpPr>
        <p:spPr>
          <a:xfrm>
            <a:off x="560512" y="332657"/>
            <a:ext cx="8210425" cy="860080"/>
          </a:xfrm>
        </p:spPr>
        <p:txBody>
          <a:bodyPr>
            <a:normAutofit/>
          </a:bodyPr>
          <a:lstStyle/>
          <a:p>
            <a:pPr eaLnBrk="1" hangingPunct="1"/>
            <a:r>
              <a:rPr lang="pl-PL" altLang="en-US" sz="2000" spc="-41" dirty="0" smtClean="0">
                <a:solidFill>
                  <a:srgbClr val="DE7E14"/>
                </a:solidFill>
              </a:rPr>
              <a:t>Spotkania</a:t>
            </a:r>
            <a:r>
              <a:rPr lang="pl-PL" altLang="en-US" sz="2000" spc="-41" dirty="0" smtClean="0">
                <a:solidFill>
                  <a:srgbClr val="0166B6"/>
                </a:solidFill>
              </a:rPr>
              <a:t> Komitetu Sterującego i liderów strumieni </a:t>
            </a:r>
            <a:endParaRPr lang="en-US" altLang="en-US" sz="2000" spc="-41" dirty="0">
              <a:solidFill>
                <a:srgbClr val="0166B6"/>
              </a:solidFill>
            </a:endParaRPr>
          </a:p>
        </p:txBody>
      </p:sp>
      <p:sp>
        <p:nvSpPr>
          <p:cNvPr id="10" name="pole tekstowe 9"/>
          <p:cNvSpPr txBox="1"/>
          <p:nvPr/>
        </p:nvSpPr>
        <p:spPr>
          <a:xfrm>
            <a:off x="560512" y="1220955"/>
            <a:ext cx="8640959" cy="495229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września 2019 r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odbyło się spotkanie liderów strumieni, na którym omówiono prace strumieni i osiągnięte korzyści oraz dyskutowano o kolejnym etapie programu; 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 września 2019 r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odbyło się spotkanie Komitetu Sterującego, na którym:</a:t>
            </a:r>
          </a:p>
          <a:p>
            <a:pPr marL="449263" indent="-177800">
              <a:spcAft>
                <a:spcPts val="600"/>
              </a:spcAft>
              <a:buFontTx/>
              <a:buChar char="-"/>
            </a:pP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sumowano prace strumieni</a:t>
            </a:r>
          </a:p>
          <a:p>
            <a:pPr marL="449263" indent="-177800">
              <a:spcAft>
                <a:spcPts val="600"/>
              </a:spcAft>
              <a:buFontTx/>
              <a:buChar char="-"/>
            </a:pP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dzono 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ę co do potrzeby kontynuowania prac zespołu w ramach drugiego etapu 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u:    </a:t>
            </a:r>
          </a:p>
          <a:p>
            <a:pPr marL="627063" indent="-177800">
              <a:spcAft>
                <a:spcPts val="600"/>
              </a:spcAft>
              <a:buSzPct val="70000"/>
              <a:buFont typeface="Wingdings" panose="05000000000000000000" pitchFamily="2" charset="2"/>
              <a:buChar char="ü"/>
            </a:pP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o 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ferowany kierunek działań programu w drugim etapie 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skazano </a:t>
            </a:r>
            <a:r>
              <a:rPr lang="pl-PL" sz="16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owanie </a:t>
            </a:r>
            <a:r>
              <a:rPr lang="pl-PL" sz="1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wiązań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 ramach poszczególnych obszarów 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ług publicznych. Dla realizacji tego celu, koniecznym jest wykorzystanie najnowszych technologii (</a:t>
            </a:r>
            <a:r>
              <a:rPr lang="pl-PL" sz="1600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chain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pl-PL" sz="1600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et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zeczy, sztuczna inteligencja) 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co uczyni rozwiązania </a:t>
            </a:r>
            <a:r>
              <a:rPr lang="pl-PL" sz="16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woczesnymi, mobilnymi, efektywnymi</a:t>
            </a:r>
            <a:r>
              <a:rPr lang="pl-PL" sz="16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6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z  wygodnymi</a:t>
            </a:r>
          </a:p>
          <a:p>
            <a:pPr marL="627063" indent="-177800">
              <a:spcAft>
                <a:spcPts val="600"/>
              </a:spcAft>
              <a:buSzPct val="70000"/>
              <a:buFont typeface="Wingdings" panose="05000000000000000000" pitchFamily="2" charset="2"/>
              <a:buChar char="ü"/>
            </a:pP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 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dentyfikacji potencjalnych projektów do drugiego etapu programu należy doprosić też NFZ 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lub szerzej – obszar ochrony </a:t>
            </a:r>
            <a:r>
              <a:rPr lang="pl-PL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drowia), Ministerstwo Środowiska i NFOŚ (ochrona środowiska</a:t>
            </a: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49263" indent="-177800">
              <a:spcAft>
                <a:spcPts val="600"/>
              </a:spcAft>
              <a:buFontTx/>
              <a:buChar char="-"/>
            </a:pP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zewodniczący KS – Pan Minister Marek Zagórski - podjął decyzję dotyczącą zmian w składzie osobowym zespołu (aktualizacja i uzupełnienie składu) oraz zmiany częstotliwości raportowania na KRMC z prac Zespołu z co najmniej raz na dwa miesiące na co najmniej raz na sześć miesięcy (decyzja nr. 4/2019 z 23.09.2019 r). </a:t>
            </a:r>
          </a:p>
          <a:p>
            <a:pPr marL="449263" indent="-177800">
              <a:spcAft>
                <a:spcPts val="600"/>
              </a:spcAft>
              <a:buFontTx/>
              <a:buChar char="-"/>
            </a:pPr>
            <a:r>
              <a:rPr lang="pl-PL" sz="16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onowana nazwa Etapu II Programu: </a:t>
            </a:r>
            <a:r>
              <a:rPr lang="pl-PL" sz="1600" b="1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perless</a:t>
            </a:r>
            <a:r>
              <a:rPr lang="pl-PL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pl-PL" sz="1600" b="1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hless</a:t>
            </a:r>
            <a:r>
              <a:rPr lang="pl-PL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pl-PL" sz="1600" b="1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lligent</a:t>
            </a:r>
            <a:endParaRPr lang="pl-PL" sz="16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pl-PL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41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2072680" y="2564904"/>
            <a:ext cx="8210425" cy="86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pl-PL" altLang="en-US" sz="6000" spc="-41" dirty="0">
                <a:solidFill>
                  <a:srgbClr val="0166B6"/>
                </a:solidFill>
              </a:rPr>
              <a:t>D</a:t>
            </a:r>
            <a:r>
              <a:rPr lang="pl-PL" altLang="en-US" sz="6000" spc="-41" dirty="0" smtClean="0">
                <a:solidFill>
                  <a:srgbClr val="0166B6"/>
                </a:solidFill>
              </a:rPr>
              <a:t>ziękuję za uwagę</a:t>
            </a:r>
            <a:endParaRPr lang="en-US" altLang="en-US" sz="6000" spc="-41" dirty="0">
              <a:solidFill>
                <a:srgbClr val="0166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754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661154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3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171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459415" cy="831850"/>
          </a:xfrm>
        </p:spPr>
        <p:txBody>
          <a:bodyPr/>
          <a:lstStyle/>
          <a:p>
            <a:pPr eaLnBrk="1" hangingPunct="1"/>
            <a:r>
              <a:rPr lang="pl-PL" altLang="en-US" sz="2000" dirty="0" smtClean="0">
                <a:solidFill>
                  <a:srgbClr val="DC6E00"/>
                </a:solidFill>
              </a:rPr>
              <a:t>Obecna struktura i zakres</a:t>
            </a:r>
            <a:r>
              <a:rPr lang="pl-PL" altLang="en-US" sz="2000" dirty="0" smtClean="0"/>
              <a:t> </a:t>
            </a:r>
            <a:r>
              <a:rPr lang="pl-PL" altLang="en-US" sz="2000" dirty="0">
                <a:solidFill>
                  <a:srgbClr val="0166B6"/>
                </a:solidFill>
              </a:rPr>
              <a:t>p</a:t>
            </a:r>
            <a:r>
              <a:rPr lang="pl-PL" altLang="en-US" sz="2000" dirty="0" smtClean="0">
                <a:solidFill>
                  <a:srgbClr val="0166B6"/>
                </a:solidFill>
              </a:rPr>
              <a:t>rogramu "Od papierowej do cyfrowej Polski"</a:t>
            </a:r>
          </a:p>
        </p:txBody>
      </p:sp>
      <p:sp>
        <p:nvSpPr>
          <p:cNvPr id="28" name="Isosceles Triangle 27"/>
          <p:cNvSpPr/>
          <p:nvPr/>
        </p:nvSpPr>
        <p:spPr>
          <a:xfrm>
            <a:off x="574645" y="2440016"/>
            <a:ext cx="9049544" cy="1554692"/>
          </a:xfrm>
          <a:prstGeom prst="triangle">
            <a:avLst>
              <a:gd name="adj" fmla="val 50321"/>
            </a:avLst>
          </a:prstGeom>
          <a:gradFill flip="none" rotWithShape="1">
            <a:gsLst>
              <a:gs pos="0">
                <a:srgbClr val="D0D0D0"/>
              </a:gs>
              <a:gs pos="50000">
                <a:srgbClr val="EDEDED"/>
              </a:gs>
              <a:gs pos="85000">
                <a:srgbClr val="FFFFFF"/>
              </a:gs>
            </a:gsLst>
            <a:lin ang="540000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7500" tIns="741000" bIns="99060"/>
          <a:lstStyle/>
          <a:p>
            <a:pPr marL="190892" lvl="2" indent="-190892">
              <a:buClr>
                <a:srgbClr val="E20074"/>
              </a:buClr>
              <a:buSzPct val="75000"/>
              <a:defRPr/>
            </a:pPr>
            <a:endParaRPr lang="pl-PL" sz="1733" b="1" kern="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9" name="Trapezoid 28"/>
          <p:cNvSpPr/>
          <p:nvPr/>
        </p:nvSpPr>
        <p:spPr>
          <a:xfrm>
            <a:off x="396220" y="2737183"/>
            <a:ext cx="9023747" cy="903460"/>
          </a:xfrm>
          <a:prstGeom prst="trapezoid">
            <a:avLst>
              <a:gd name="adj" fmla="val 337515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</a:pPr>
            <a:endParaRPr 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439960" y="3667503"/>
            <a:ext cx="9049544" cy="495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  <a:defRPr/>
            </a:pPr>
            <a:endParaRPr lang="pl-PL" alt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1" name="Trójkąt równoramienny 8"/>
          <p:cNvSpPr/>
          <p:nvPr/>
        </p:nvSpPr>
        <p:spPr>
          <a:xfrm>
            <a:off x="3047724" y="2223167"/>
            <a:ext cx="3876529" cy="581818"/>
          </a:xfrm>
          <a:prstGeom prst="triangle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9049" tIns="49526" rIns="99049" bIns="156000" anchor="ctr"/>
          <a:lstStyle/>
          <a:p>
            <a:pPr algn="ctr">
              <a:defRPr/>
            </a:pPr>
            <a:r>
              <a:rPr lang="pl-PL" sz="1950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pl-PL" sz="1517" b="1" dirty="0" smtClean="0">
                <a:solidFill>
                  <a:srgbClr val="FFFFFF"/>
                </a:solidFill>
                <a:latin typeface="Calibri" pitchFamily="34" charset="0"/>
              </a:rPr>
              <a:t>MC</a:t>
            </a:r>
            <a:endParaRPr lang="pl-PL" sz="1517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664510" y="4212684"/>
            <a:ext cx="1944216" cy="12430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39000" tIns="351000" rIns="39000" bIns="99060"/>
          <a:lstStyle/>
          <a:p>
            <a:pPr>
              <a:lnSpc>
                <a:spcPts val="1000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latin typeface="Calibri" pitchFamily="34" charset="0"/>
              </a:rPr>
              <a:t>Nadzór nad pracami </a:t>
            </a:r>
            <a:r>
              <a:rPr lang="pl-PL" altLang="pl-PL" sz="1192" b="1" dirty="0" smtClean="0">
                <a:latin typeface="Calibri" pitchFamily="34" charset="0"/>
              </a:rPr>
              <a:t>strumienia:</a:t>
            </a:r>
            <a:endParaRPr lang="pl-PL" altLang="pl-PL" sz="1192" b="1" dirty="0">
              <a:latin typeface="Calibri" pitchFamily="34" charset="0"/>
            </a:endParaRPr>
          </a:p>
          <a:p>
            <a:pPr marL="139315" indent="-139315">
              <a:spcAft>
                <a:spcPts val="542"/>
              </a:spcAft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 smtClean="0">
                <a:latin typeface="Calibri" pitchFamily="34" charset="0"/>
              </a:rPr>
              <a:t>e-Sprawozdawczość</a:t>
            </a:r>
            <a:endParaRPr lang="pl-PL" altLang="pl-PL" sz="1083" dirty="0">
              <a:latin typeface="Calibri" pitchFamily="34" charset="0"/>
            </a:endParaRPr>
          </a:p>
        </p:txBody>
      </p:sp>
      <p:sp>
        <p:nvSpPr>
          <p:cNvPr id="34" name="Trójkąt równoramienny 8"/>
          <p:cNvSpPr/>
          <p:nvPr/>
        </p:nvSpPr>
        <p:spPr>
          <a:xfrm>
            <a:off x="690594" y="3864249"/>
            <a:ext cx="1944348" cy="308699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sz="1517" b="1" dirty="0" smtClean="0">
                <a:solidFill>
                  <a:srgbClr val="FFFFFF"/>
                </a:solidFill>
                <a:latin typeface="Calibri" pitchFamily="34" charset="0"/>
              </a:rPr>
              <a:t>MF</a:t>
            </a:r>
            <a:endParaRPr lang="pl-PL" sz="1517" b="1" dirty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941612" y="3833642"/>
            <a:ext cx="1968906" cy="1622051"/>
            <a:chOff x="4500806" y="3183062"/>
            <a:chExt cx="1817452" cy="1497278"/>
          </a:xfrm>
        </p:grpSpPr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4500806" y="3564141"/>
              <a:ext cx="1799386" cy="11161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000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Nadzór nad 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</a:rPr>
                <a:t>pracami strumienia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e-Transport </a:t>
              </a:r>
              <a:r>
                <a:rPr lang="pl-PL" altLang="pl-PL" sz="1083" dirty="0" smtClean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i </a:t>
              </a: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e-Przepływy Towarów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endParaRPr lang="pl-PL" altLang="pl-PL" sz="1300" dirty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35" name="pole tekstowe 2"/>
            <p:cNvSpPr txBox="1">
              <a:spLocks noChangeArrowheads="1"/>
            </p:cNvSpPr>
            <p:nvPr/>
          </p:nvSpPr>
          <p:spPr bwMode="auto">
            <a:xfrm>
              <a:off x="4500806" y="3183062"/>
              <a:ext cx="1817452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 smtClean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I</a:t>
              </a:r>
              <a:endParaRPr lang="pl-PL" altLang="pl-PL" sz="1517" b="1" dirty="0">
                <a:solidFill>
                  <a:srgbClr val="FFFFFF"/>
                </a:solidFill>
                <a:latin typeface="Calibri" panose="020F050202020403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7" name="Freeform 84"/>
          <p:cNvSpPr>
            <a:spLocks/>
          </p:cNvSpPr>
          <p:nvPr/>
        </p:nvSpPr>
        <p:spPr bwMode="gray">
          <a:xfrm>
            <a:off x="439960" y="2204864"/>
            <a:ext cx="9049544" cy="1442905"/>
          </a:xfrm>
          <a:custGeom>
            <a:avLst/>
            <a:gdLst>
              <a:gd name="T0" fmla="*/ 0 w 632"/>
              <a:gd name="T1" fmla="*/ 515 h 140"/>
              <a:gd name="T2" fmla="*/ 11501 w 632"/>
              <a:gd name="T3" fmla="*/ 0 h 140"/>
              <a:gd name="T4" fmla="*/ 22780 w 632"/>
              <a:gd name="T5" fmla="*/ 515 h 140"/>
              <a:gd name="T6" fmla="*/ 0 60000 65536"/>
              <a:gd name="T7" fmla="*/ 0 60000 65536"/>
              <a:gd name="T8" fmla="*/ 0 60000 65536"/>
              <a:gd name="T9" fmla="*/ 0 w 632"/>
              <a:gd name="T10" fmla="*/ 0 h 140"/>
              <a:gd name="T11" fmla="*/ 632 w 632"/>
              <a:gd name="T12" fmla="*/ 140 h 14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32" h="140">
                <a:moveTo>
                  <a:pt x="0" y="140"/>
                </a:moveTo>
                <a:lnTo>
                  <a:pt x="319" y="0"/>
                </a:lnTo>
                <a:lnTo>
                  <a:pt x="632" y="14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588368" y="5542796"/>
            <a:ext cx="8576921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altLang="pl-PL" sz="1517" b="1" dirty="0">
                <a:solidFill>
                  <a:srgbClr val="FFFFFF"/>
                </a:solidFill>
                <a:latin typeface="Calibri" pitchFamily="34" charset="0"/>
              </a:rPr>
              <a:t>Szeroki udział ekspertów </a:t>
            </a:r>
            <a:r>
              <a:rPr lang="pl-PL" altLang="pl-PL" sz="1517" b="1" dirty="0" smtClean="0">
                <a:solidFill>
                  <a:srgbClr val="FFFFFF"/>
                </a:solidFill>
                <a:latin typeface="Calibri" pitchFamily="34" charset="0"/>
              </a:rPr>
              <a:t>rynkowych – ok. 500 osób włączonych w prace</a:t>
            </a:r>
            <a:endParaRPr lang="pl-PL" altLang="pl-PL" sz="1517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2692230" y="2974272"/>
            <a:ext cx="4545004" cy="179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4013" indent="-184013" algn="ctr" defTabSz="1382670">
              <a:lnSpc>
                <a:spcPts val="1362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Koordynacja i nadzór nad Programem, nadzór nad pracami strumieni:</a:t>
            </a:r>
            <a:endParaRPr lang="pl-PL" altLang="pl-PL" sz="1192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510574" y="3101721"/>
            <a:ext cx="4703087" cy="630345"/>
            <a:chOff x="2877330" y="2520269"/>
            <a:chExt cx="4341312" cy="581856"/>
          </a:xfrm>
        </p:grpSpPr>
        <p:sp>
          <p:nvSpPr>
            <p:cNvPr id="40" name="Rectangle 26"/>
            <p:cNvSpPr>
              <a:spLocks noChangeArrowheads="1"/>
            </p:cNvSpPr>
            <p:nvPr/>
          </p:nvSpPr>
          <p:spPr bwMode="auto">
            <a:xfrm>
              <a:off x="5058055" y="2777053"/>
              <a:ext cx="2160587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latin typeface="Calibri" panose="020F0502020204030204" pitchFamily="34" charset="0"/>
                </a:rPr>
                <a:t>Sztuczna </a:t>
              </a:r>
              <a:r>
                <a:rPr lang="pl-PL" altLang="pl-PL" sz="1083" dirty="0" smtClean="0">
                  <a:latin typeface="Calibri" panose="020F0502020204030204" pitchFamily="34" charset="0"/>
                </a:rPr>
                <a:t>inteligencja </a:t>
              </a:r>
              <a:endParaRPr lang="pl-PL" altLang="pl-PL" sz="1083" dirty="0">
                <a:latin typeface="Calibri" panose="020F0502020204030204" pitchFamily="34" charset="0"/>
              </a:endParaRPr>
            </a:p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endParaRPr lang="pl-PL" altLang="pl-PL" sz="1083" dirty="0">
                <a:latin typeface="Calibri" panose="020F050202020403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81767" y="2824313"/>
              <a:ext cx="2611438" cy="277812"/>
            </a:xfrm>
            <a:prstGeom prst="rect">
              <a:avLst/>
            </a:prstGeom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  <a:cs typeface="Arial" charset="0"/>
                </a:rPr>
                <a:t>Internet rzeczy</a:t>
              </a:r>
            </a:p>
          </p:txBody>
        </p:sp>
        <p:sp>
          <p:nvSpPr>
            <p:cNvPr id="43" name="Rectangle 26"/>
            <p:cNvSpPr>
              <a:spLocks noChangeArrowheads="1"/>
            </p:cNvSpPr>
            <p:nvPr/>
          </p:nvSpPr>
          <p:spPr bwMode="auto">
            <a:xfrm>
              <a:off x="2877330" y="2520269"/>
              <a:ext cx="2104043" cy="374507"/>
            </a:xfrm>
            <a:prstGeom prst="rect">
              <a:avLst/>
            </a:prstGeom>
            <a:extLst/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Cyfrowe Usługi </a:t>
              </a:r>
              <a:r>
                <a:rPr lang="pl-PL" altLang="pl-PL" sz="1083" dirty="0" smtClean="0">
                  <a:latin typeface="Calibri" pitchFamily="34" charset="0"/>
                </a:rPr>
                <a:t>Publiczne, w tym e-Skrzynka i e-Doręczenie</a:t>
              </a:r>
            </a:p>
            <a:p>
              <a:pPr defTabSz="1382670">
                <a:buClr>
                  <a:srgbClr val="1174AE"/>
                </a:buClr>
                <a:defRPr/>
              </a:pPr>
              <a:endParaRPr lang="pl-PL" altLang="pl-PL" sz="1083" dirty="0">
                <a:latin typeface="Calibri" pitchFamily="34" charset="0"/>
              </a:endParaRPr>
            </a:p>
          </p:txBody>
        </p:sp>
        <p:sp>
          <p:nvSpPr>
            <p:cNvPr id="44" name="Rectangle 27"/>
            <p:cNvSpPr>
              <a:spLocks noChangeArrowheads="1"/>
            </p:cNvSpPr>
            <p:nvPr/>
          </p:nvSpPr>
          <p:spPr bwMode="auto">
            <a:xfrm>
              <a:off x="5049362" y="2533191"/>
              <a:ext cx="2160240" cy="34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solidFill>
                    <a:srgbClr val="000000"/>
                  </a:solidFill>
                  <a:latin typeface="Calibri" panose="020F0502020204030204" pitchFamily="34" charset="0"/>
                </a:rPr>
                <a:t>Rejestry Rozproszone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6643582" y="2736859"/>
            <a:ext cx="2065469" cy="299244"/>
          </a:xfrm>
          <a:prstGeom prst="rect">
            <a:avLst/>
          </a:prstGeom>
        </p:spPr>
        <p:txBody>
          <a:bodyPr/>
          <a:lstStyle/>
          <a:p>
            <a:pPr defTabSz="1382670">
              <a:buClr>
                <a:srgbClr val="1174AE"/>
              </a:buClr>
              <a:defRPr/>
            </a:pPr>
            <a:endParaRPr lang="pl-PL" altLang="pl-PL" sz="1083" i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22392" y="3817573"/>
            <a:ext cx="1895425" cy="1661742"/>
            <a:chOff x="6459332" y="2811309"/>
            <a:chExt cx="1749623" cy="694958"/>
          </a:xfrm>
        </p:grpSpPr>
        <p:sp>
          <p:nvSpPr>
            <p:cNvPr id="51" name="Rectangle 5"/>
            <p:cNvSpPr>
              <a:spLocks noChangeArrowheads="1"/>
            </p:cNvSpPr>
            <p:nvPr/>
          </p:nvSpPr>
          <p:spPr bwMode="auto">
            <a:xfrm>
              <a:off x="6459332" y="2986428"/>
              <a:ext cx="1749623" cy="51983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000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latin typeface="Calibri" pitchFamily="34" charset="0"/>
                </a:rPr>
                <a:t>Nadzór nad pracami strumienia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e-Edukacja</a:t>
              </a:r>
            </a:p>
          </p:txBody>
        </p:sp>
        <p:sp>
          <p:nvSpPr>
            <p:cNvPr id="52" name="pole tekstowe 2"/>
            <p:cNvSpPr txBox="1">
              <a:spLocks noChangeArrowheads="1"/>
            </p:cNvSpPr>
            <p:nvPr/>
          </p:nvSpPr>
          <p:spPr bwMode="auto">
            <a:xfrm>
              <a:off x="6477398" y="2811309"/>
              <a:ext cx="1731557" cy="1585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EN</a:t>
              </a:r>
            </a:p>
          </p:txBody>
        </p:sp>
      </p:grpSp>
      <p:sp>
        <p:nvSpPr>
          <p:cNvPr id="27" name="Freeform 85"/>
          <p:cNvSpPr>
            <a:spLocks/>
          </p:cNvSpPr>
          <p:nvPr/>
        </p:nvSpPr>
        <p:spPr bwMode="gray">
          <a:xfrm>
            <a:off x="588368" y="3761613"/>
            <a:ext cx="8596515" cy="2111880"/>
          </a:xfrm>
          <a:custGeom>
            <a:avLst/>
            <a:gdLst>
              <a:gd name="T0" fmla="*/ 0 w 694"/>
              <a:gd name="T1" fmla="*/ 0 h 230"/>
              <a:gd name="T2" fmla="*/ 0 w 694"/>
              <a:gd name="T3" fmla="*/ 230 h 230"/>
              <a:gd name="T4" fmla="*/ 694 w 694"/>
              <a:gd name="T5" fmla="*/ 230 h 230"/>
              <a:gd name="T6" fmla="*/ 694 w 694"/>
              <a:gd name="T7" fmla="*/ 0 h 230"/>
              <a:gd name="T8" fmla="*/ 0 60000 65536"/>
              <a:gd name="T9" fmla="*/ 0 60000 65536"/>
              <a:gd name="T10" fmla="*/ 0 60000 65536"/>
              <a:gd name="T11" fmla="*/ 0 60000 65536"/>
              <a:gd name="T12" fmla="*/ 0 w 694"/>
              <a:gd name="T13" fmla="*/ 0 h 230"/>
              <a:gd name="T14" fmla="*/ 694 w 694"/>
              <a:gd name="T15" fmla="*/ 230 h 2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4" h="230">
                <a:moveTo>
                  <a:pt x="0" y="0"/>
                </a:moveTo>
                <a:lnTo>
                  <a:pt x="0" y="230"/>
                </a:lnTo>
                <a:lnTo>
                  <a:pt x="694" y="230"/>
                </a:lnTo>
                <a:lnTo>
                  <a:pt x="694" y="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  <p:grpSp>
        <p:nvGrpSpPr>
          <p:cNvPr id="36" name="Group 1"/>
          <p:cNvGrpSpPr/>
          <p:nvPr/>
        </p:nvGrpSpPr>
        <p:grpSpPr>
          <a:xfrm>
            <a:off x="2823854" y="3833642"/>
            <a:ext cx="1886310" cy="1618488"/>
            <a:chOff x="4482740" y="3173687"/>
            <a:chExt cx="1741210" cy="1493990"/>
          </a:xfrm>
        </p:grpSpPr>
        <p:sp>
          <p:nvSpPr>
            <p:cNvPr id="45" name="Rectangle 5"/>
            <p:cNvSpPr>
              <a:spLocks noChangeArrowheads="1"/>
            </p:cNvSpPr>
            <p:nvPr/>
          </p:nvSpPr>
          <p:spPr bwMode="auto">
            <a:xfrm>
              <a:off x="4482740" y="3520285"/>
              <a:ext cx="1741210" cy="114739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000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Nadzór nad 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</a:rPr>
                <a:t>pracami </a:t>
              </a:r>
              <a:r>
                <a:rPr lang="pl-PL" altLang="pl-PL" sz="1192" b="1" dirty="0" smtClean="0">
                  <a:solidFill>
                    <a:srgbClr val="000000"/>
                  </a:solidFill>
                  <a:latin typeface="Calibri" pitchFamily="34" charset="0"/>
                </a:rPr>
                <a:t>strumieni</a:t>
              </a:r>
              <a:r>
                <a:rPr lang="pl-PL" altLang="pl-PL" sz="1192" b="1" dirty="0" smtClean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:</a:t>
              </a:r>
              <a:endParaRPr lang="pl-PL" altLang="pl-PL" sz="1192" b="1" dirty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  <a:p>
              <a:pPr marL="139315" indent="-139315"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50" dirty="0">
                  <a:latin typeface="Calibri" pitchFamily="34" charset="0"/>
                </a:rPr>
                <a:t>Zwiększenie Obrotu Bezgotówkowego</a:t>
              </a:r>
            </a:p>
            <a:p>
              <a:pPr marL="139315" indent="-139315"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50" dirty="0">
                  <a:latin typeface="Calibri" pitchFamily="34" charset="0"/>
                </a:rPr>
                <a:t>e-Faktura i e-Paragon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endParaRPr lang="pl-PL" altLang="pl-PL" sz="1300" dirty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46" name="pole tekstowe 2"/>
            <p:cNvSpPr txBox="1">
              <a:spLocks noChangeArrowheads="1"/>
            </p:cNvSpPr>
            <p:nvPr/>
          </p:nvSpPr>
          <p:spPr bwMode="auto">
            <a:xfrm>
              <a:off x="4482740" y="3173687"/>
              <a:ext cx="1741210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 smtClean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R</a:t>
              </a:r>
              <a:endParaRPr lang="pl-PL" altLang="pl-PL" sz="1517" b="1" dirty="0">
                <a:solidFill>
                  <a:srgbClr val="FFFFFF"/>
                </a:solidFill>
                <a:latin typeface="Calibri" panose="020F050202020403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3" name="pole tekstowe 32"/>
          <p:cNvSpPr txBox="1"/>
          <p:nvPr/>
        </p:nvSpPr>
        <p:spPr>
          <a:xfrm>
            <a:off x="470797" y="1296412"/>
            <a:ext cx="8241116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pl-PL" sz="1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gramie działa 9 strumien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pl-PL" sz="1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ace włączone jest 5 ministerst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4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2019r. realizowano ok. 52 projekty (nie włączając projektów z programu AI), z których zakończono 16.</a:t>
            </a:r>
          </a:p>
        </p:txBody>
      </p:sp>
    </p:spTree>
    <p:extLst>
      <p:ext uri="{BB962C8B-B14F-4D97-AF65-F5344CB8AC3E}">
        <p14:creationId xmlns:p14="http://schemas.microsoft.com/office/powerpoint/2010/main" val="159053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67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679388" y="2753161"/>
            <a:ext cx="4178854" cy="891863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527382" y="1209312"/>
            <a:ext cx="8424024" cy="681079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Marcin Kraska (ILiM)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</a:t>
            </a: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masz Napiórkowski (MC)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Cyfrowe Usługi Publiczne, w tym e-Skrzynka i e-Doręczenia </a:t>
            </a:r>
            <a:r>
              <a:rPr lang="pl-PL" altLang="pl-PL" sz="2000" dirty="0" smtClean="0">
                <a:solidFill>
                  <a:srgbClr val="0166B6"/>
                </a:solidFill>
              </a:rPr>
              <a:t>wspiera prace nad cyfryzacją usług publicznych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672574" y="2852936"/>
            <a:ext cx="4295091" cy="900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Opracowanie scenariuszy </a:t>
            </a:r>
            <a:r>
              <a:rPr lang="pl-PL" altLang="pl-PL" sz="1300" b="1" dirty="0">
                <a:solidFill>
                  <a:srgbClr val="0070C0"/>
                </a:solidFill>
                <a:latin typeface="Calibri" pitchFamily="34" charset="0"/>
              </a:rPr>
              <a:t>zdarzeń życiowych </a:t>
            </a:r>
            <a:r>
              <a:rPr lang="pl-PL" altLang="pl-PL" sz="1300" dirty="0">
                <a:solidFill>
                  <a:srgbClr val="0070C0"/>
                </a:solidFill>
                <a:latin typeface="Calibri" pitchFamily="34" charset="0"/>
              </a:rPr>
              <a:t>(</a:t>
            </a:r>
            <a:r>
              <a:rPr lang="pl-PL" altLang="pl-PL" sz="1300" i="1" dirty="0" err="1">
                <a:solidFill>
                  <a:srgbClr val="0070C0"/>
                </a:solidFill>
                <a:latin typeface="Calibri" pitchFamily="34" charset="0"/>
              </a:rPr>
              <a:t>customer</a:t>
            </a:r>
            <a:r>
              <a:rPr lang="pl-PL" altLang="pl-PL" sz="1300" i="1" dirty="0">
                <a:solidFill>
                  <a:srgbClr val="0070C0"/>
                </a:solidFill>
                <a:latin typeface="Calibri" pitchFamily="34" charset="0"/>
              </a:rPr>
              <a:t> </a:t>
            </a:r>
            <a:r>
              <a:rPr lang="pl-PL" altLang="pl-PL" sz="1300" i="1" dirty="0" err="1">
                <a:solidFill>
                  <a:srgbClr val="0070C0"/>
                </a:solidFill>
                <a:latin typeface="Calibri" pitchFamily="34" charset="0"/>
              </a:rPr>
              <a:t>journey</a:t>
            </a:r>
            <a:r>
              <a:rPr lang="pl-PL" altLang="pl-PL" sz="1300" i="1" dirty="0">
                <a:solidFill>
                  <a:srgbClr val="0070C0"/>
                </a:solidFill>
                <a:latin typeface="Calibri" pitchFamily="34" charset="0"/>
              </a:rPr>
              <a:t> map</a:t>
            </a:r>
            <a:r>
              <a:rPr lang="pl-PL" altLang="pl-PL" sz="1300" dirty="0">
                <a:solidFill>
                  <a:srgbClr val="0070C0"/>
                </a:solidFill>
                <a:latin typeface="Calibri" pitchFamily="34" charset="0"/>
              </a:rPr>
              <a:t>): moja rodzina, mój 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pojazd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e-Doręczenia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 – podpisana umowa o finansowanie </a:t>
            </a:r>
            <a:endParaRPr lang="pl-PL" altLang="pl-PL" sz="1300" dirty="0">
              <a:solidFill>
                <a:srgbClr val="0070C0"/>
              </a:solidFill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latin typeface="Calibri" pitchFamily="34" charset="0"/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897217" y="2348880"/>
            <a:ext cx="298249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05445" y="1340769"/>
            <a:ext cx="599438" cy="489158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1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535891"/>
              </p:ext>
            </p:extLst>
          </p:nvPr>
        </p:nvGraphicFramePr>
        <p:xfrm>
          <a:off x="560512" y="2492896"/>
          <a:ext cx="4824535" cy="26949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9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566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597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39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718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8528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1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ypracowanie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900" u="none" strike="noStrike" kern="12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etareguł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i </a:t>
                      </a:r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asad budowy 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yfrowych </a:t>
                      </a:r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ług publicznych 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raz </a:t>
                      </a:r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ndardu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pisu </a:t>
                      </a:r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ług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la jednostek </a:t>
                      </a:r>
                      <a:r>
                        <a:rPr lang="pl-PL" sz="900" b="1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ministracji publicznej</a:t>
                      </a:r>
                      <a:endParaRPr lang="pl-PL" sz="900" b="1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yfrowe Usługi Publiczne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3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racowanie</a:t>
                      </a:r>
                      <a:r>
                        <a:rPr lang="pl-PL" sz="9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cenariuszy </a:t>
                      </a:r>
                      <a:r>
                        <a:rPr lang="pl-PL" sz="900" b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darzeń życiowych </a:t>
                      </a:r>
                      <a:r>
                        <a:rPr lang="pl-PL" sz="900" i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pl-PL" sz="900" i="1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ustomer</a:t>
                      </a:r>
                      <a:r>
                        <a:rPr lang="pl-PL" sz="900" i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l-PL" sz="900" i="1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ourney</a:t>
                      </a:r>
                      <a:r>
                        <a:rPr lang="pl-PL" sz="900" i="1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ap)</a:t>
                      </a:r>
                      <a:endParaRPr lang="pl-PL" sz="900" i="1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62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4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talogi</a:t>
                      </a:r>
                      <a:r>
                        <a:rPr lang="pl-PL" sz="90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dministracji Publicznej 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4 2022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440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5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sparcie przygotowania koncepcji portalu usług publicznych </a:t>
                      </a:r>
                      <a:endParaRPr lang="pl-PL" sz="900" b="1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2" name="clipart_tick"/>
          <p:cNvSpPr>
            <a:spLocks noChangeAspect="1"/>
          </p:cNvSpPr>
          <p:nvPr/>
        </p:nvSpPr>
        <p:spPr bwMode="gray">
          <a:xfrm>
            <a:off x="4547435" y="3391105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" name="Łącznik prosty ze strzałką 3"/>
          <p:cNvCxnSpPr/>
          <p:nvPr/>
        </p:nvCxnSpPr>
        <p:spPr>
          <a:xfrm flipV="1">
            <a:off x="257421" y="457237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lipart_tick"/>
          <p:cNvSpPr>
            <a:spLocks noChangeAspect="1"/>
          </p:cNvSpPr>
          <p:nvPr/>
        </p:nvSpPr>
        <p:spPr bwMode="gray">
          <a:xfrm>
            <a:off x="4533363" y="3795630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clipart_tick"/>
          <p:cNvSpPr>
            <a:spLocks noChangeAspect="1"/>
          </p:cNvSpPr>
          <p:nvPr/>
        </p:nvSpPr>
        <p:spPr bwMode="gray">
          <a:xfrm>
            <a:off x="4547435" y="4165842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clipart_tick"/>
          <p:cNvSpPr>
            <a:spLocks noChangeAspect="1"/>
          </p:cNvSpPr>
          <p:nvPr/>
        </p:nvSpPr>
        <p:spPr bwMode="gray">
          <a:xfrm>
            <a:off x="4559966" y="4894829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7" name="Oval 140"/>
          <p:cNvSpPr/>
          <p:nvPr/>
        </p:nvSpPr>
        <p:spPr bwMode="auto">
          <a:xfrm>
            <a:off x="4507425" y="4478763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25" name="Grupa 24"/>
          <p:cNvGrpSpPr/>
          <p:nvPr/>
        </p:nvGrpSpPr>
        <p:grpSpPr>
          <a:xfrm>
            <a:off x="4072572" y="4478763"/>
            <a:ext cx="223087" cy="209515"/>
            <a:chOff x="3762154" y="6525499"/>
            <a:chExt cx="223087" cy="209515"/>
          </a:xfrm>
        </p:grpSpPr>
        <p:sp>
          <p:nvSpPr>
            <p:cNvPr id="26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Prostokąt zaokrąglony 27"/>
          <p:cNvSpPr/>
          <p:nvPr/>
        </p:nvSpPr>
        <p:spPr>
          <a:xfrm>
            <a:off x="5735893" y="1127125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czerwcu 2016 r. </a:t>
            </a:r>
          </a:p>
        </p:txBody>
      </p:sp>
    </p:spTree>
    <p:extLst>
      <p:ext uri="{BB962C8B-B14F-4D97-AF65-F5344CB8AC3E}">
        <p14:creationId xmlns:p14="http://schemas.microsoft.com/office/powerpoint/2010/main" val="162050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2" name="Łącznik prosty 181"/>
          <p:cNvCxnSpPr/>
          <p:nvPr/>
        </p:nvCxnSpPr>
        <p:spPr>
          <a:xfrm flipH="1">
            <a:off x="8803184" y="1222195"/>
            <a:ext cx="42940" cy="438272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Łącznik prosty 178"/>
          <p:cNvCxnSpPr/>
          <p:nvPr/>
        </p:nvCxnSpPr>
        <p:spPr>
          <a:xfrm flipH="1">
            <a:off x="2204822" y="1279100"/>
            <a:ext cx="42940" cy="438272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Łącznik prosty 173"/>
          <p:cNvCxnSpPr/>
          <p:nvPr/>
        </p:nvCxnSpPr>
        <p:spPr>
          <a:xfrm flipH="1">
            <a:off x="4831810" y="1281253"/>
            <a:ext cx="42940" cy="4382723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Objaśnienie prostokątne 166"/>
          <p:cNvSpPr/>
          <p:nvPr/>
        </p:nvSpPr>
        <p:spPr>
          <a:xfrm>
            <a:off x="6429744" y="937261"/>
            <a:ext cx="2145619" cy="687985"/>
          </a:xfrm>
          <a:prstGeom prst="wedgeRectCallout">
            <a:avLst>
              <a:gd name="adj1" fmla="val -71542"/>
              <a:gd name="adj2" fmla="val 297238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Legitymacja emeryta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Legitymacja rencisty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Legitymacja niepełnosprawnego</a:t>
            </a:r>
          </a:p>
        </p:txBody>
      </p:sp>
      <p:sp>
        <p:nvSpPr>
          <p:cNvPr id="160" name="Objaśnienie prostokątne 159"/>
          <p:cNvSpPr/>
          <p:nvPr/>
        </p:nvSpPr>
        <p:spPr>
          <a:xfrm>
            <a:off x="5139366" y="1439789"/>
            <a:ext cx="1226701" cy="280772"/>
          </a:xfrm>
          <a:prstGeom prst="wedgeRectCallout">
            <a:avLst>
              <a:gd name="adj1" fmla="val -74194"/>
              <a:gd name="adj2" fmla="val 878256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 err="1">
                <a:solidFill>
                  <a:srgbClr val="000000"/>
                </a:solidFill>
              </a:rPr>
              <a:t>eDowód</a:t>
            </a:r>
            <a:r>
              <a:rPr lang="pl-PL" sz="731" dirty="0">
                <a:solidFill>
                  <a:srgbClr val="000000"/>
                </a:solidFill>
              </a:rPr>
              <a:t> Osobisty</a:t>
            </a:r>
          </a:p>
        </p:txBody>
      </p:sp>
      <p:sp>
        <p:nvSpPr>
          <p:cNvPr id="25" name="Prostokąt 24"/>
          <p:cNvSpPr/>
          <p:nvPr/>
        </p:nvSpPr>
        <p:spPr>
          <a:xfrm>
            <a:off x="1324574" y="4023496"/>
            <a:ext cx="881520" cy="14871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FFFFFF"/>
                </a:solidFill>
              </a:rPr>
              <a:t>PRZED NARODZINAMI</a:t>
            </a:r>
          </a:p>
        </p:txBody>
      </p:sp>
      <p:sp>
        <p:nvSpPr>
          <p:cNvPr id="29" name="Prostokąt 28"/>
          <p:cNvSpPr/>
          <p:nvPr/>
        </p:nvSpPr>
        <p:spPr>
          <a:xfrm>
            <a:off x="2204823" y="4023496"/>
            <a:ext cx="1136333" cy="14871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000000"/>
                </a:solidFill>
              </a:rPr>
              <a:t>ZŁOBEK I PRZEDSZKOLE</a:t>
            </a:r>
          </a:p>
        </p:txBody>
      </p:sp>
      <p:sp>
        <p:nvSpPr>
          <p:cNvPr id="30" name="Prostokąt 29"/>
          <p:cNvSpPr/>
          <p:nvPr/>
        </p:nvSpPr>
        <p:spPr>
          <a:xfrm>
            <a:off x="3341155" y="4023496"/>
            <a:ext cx="2490670" cy="14871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FFFFFF"/>
                </a:solidFill>
              </a:rPr>
              <a:t>SZKOŁA, LICEUM I STUDIA</a:t>
            </a:r>
          </a:p>
        </p:txBody>
      </p:sp>
      <p:sp>
        <p:nvSpPr>
          <p:cNvPr id="31" name="Prostokąt 30"/>
          <p:cNvSpPr/>
          <p:nvPr/>
        </p:nvSpPr>
        <p:spPr>
          <a:xfrm>
            <a:off x="5852256" y="4023496"/>
            <a:ext cx="797984" cy="14871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000000"/>
                </a:solidFill>
              </a:rPr>
              <a:t>PRACA</a:t>
            </a:r>
          </a:p>
        </p:txBody>
      </p:sp>
      <p:sp>
        <p:nvSpPr>
          <p:cNvPr id="64" name="pole tekstowe 63"/>
          <p:cNvSpPr txBox="1"/>
          <p:nvPr/>
        </p:nvSpPr>
        <p:spPr>
          <a:xfrm>
            <a:off x="1245611" y="4179094"/>
            <a:ext cx="503664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000000"/>
                </a:solidFill>
              </a:rPr>
              <a:t>dziecko</a:t>
            </a:r>
          </a:p>
        </p:txBody>
      </p:sp>
      <p:sp>
        <p:nvSpPr>
          <p:cNvPr id="65" name="pole tekstowe 64"/>
          <p:cNvSpPr txBox="1"/>
          <p:nvPr/>
        </p:nvSpPr>
        <p:spPr>
          <a:xfrm>
            <a:off x="1245611" y="5579398"/>
            <a:ext cx="434734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000000"/>
                </a:solidFill>
              </a:rPr>
              <a:t>rodzic</a:t>
            </a:r>
          </a:p>
        </p:txBody>
      </p:sp>
      <p:sp>
        <p:nvSpPr>
          <p:cNvPr id="131" name="Title 1"/>
          <p:cNvSpPr txBox="1">
            <a:spLocks/>
          </p:cNvSpPr>
          <p:nvPr/>
        </p:nvSpPr>
        <p:spPr>
          <a:xfrm>
            <a:off x="372413" y="877511"/>
            <a:ext cx="5007388" cy="675878"/>
          </a:xfrm>
          <a:prstGeom prst="rect">
            <a:avLst/>
          </a:prstGeom>
        </p:spPr>
        <p:txBody>
          <a:bodyPr/>
          <a:lstStyle>
            <a:lvl1pPr marL="0" marR="0" indent="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1143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2286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3429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4572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5715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6858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8001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914400" algn="ctr" defTabSz="41076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1950" b="1" dirty="0">
                <a:solidFill>
                  <a:srgbClr val="0166B6"/>
                </a:solidFill>
                <a:latin typeface="Calibri" panose="020F0502020204030204" pitchFamily="34" charset="0"/>
              </a:rPr>
              <a:t>Moja </a:t>
            </a:r>
            <a:r>
              <a:rPr lang="pl-PL" altLang="pl-PL" sz="1950" b="1" dirty="0">
                <a:solidFill>
                  <a:srgbClr val="DC6E00"/>
                </a:solidFill>
                <a:latin typeface="Calibri" panose="020F0502020204030204" pitchFamily="34" charset="0"/>
              </a:rPr>
              <a:t>Rodzina</a:t>
            </a:r>
            <a:endParaRPr lang="pl-PL" altLang="pl-PL" sz="1950" b="1" dirty="0">
              <a:solidFill>
                <a:srgbClr val="0166B6"/>
              </a:solidFill>
              <a:latin typeface="Calibri" panose="020F0502020204030204" pitchFamily="34" charset="0"/>
            </a:endParaRP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pl-PL" sz="1625" b="1" i="1" dirty="0">
                <a:solidFill>
                  <a:srgbClr val="0166B6"/>
                </a:solidFill>
                <a:latin typeface="Calibri" panose="020F0502020204030204" pitchFamily="34" charset="0"/>
              </a:rPr>
              <a:t>(</a:t>
            </a:r>
            <a:r>
              <a:rPr lang="pl-PL" altLang="pl-PL" sz="1625" b="1" i="1" dirty="0" err="1">
                <a:solidFill>
                  <a:srgbClr val="0166B6"/>
                </a:solidFill>
                <a:latin typeface="Calibri" panose="020F0502020204030204" pitchFamily="34" charset="0"/>
              </a:rPr>
              <a:t>customer</a:t>
            </a:r>
            <a:r>
              <a:rPr lang="pl-PL" altLang="pl-PL" sz="1625" b="1" i="1" dirty="0">
                <a:solidFill>
                  <a:srgbClr val="0166B6"/>
                </a:solidFill>
                <a:latin typeface="Calibri" panose="020F0502020204030204" pitchFamily="34" charset="0"/>
              </a:rPr>
              <a:t> </a:t>
            </a:r>
            <a:r>
              <a:rPr lang="pl-PL" altLang="pl-PL" sz="1625" b="1" i="1" dirty="0" err="1">
                <a:solidFill>
                  <a:srgbClr val="0166B6"/>
                </a:solidFill>
                <a:latin typeface="Calibri" panose="020F0502020204030204" pitchFamily="34" charset="0"/>
              </a:rPr>
              <a:t>journey</a:t>
            </a:r>
            <a:r>
              <a:rPr lang="pl-PL" altLang="pl-PL" sz="1625" b="1" i="1" dirty="0">
                <a:solidFill>
                  <a:srgbClr val="0166B6"/>
                </a:solidFill>
                <a:latin typeface="Calibri" panose="020F0502020204030204" pitchFamily="34" charset="0"/>
              </a:rPr>
              <a:t>)</a:t>
            </a:r>
            <a:endParaRPr lang="pl-PL" altLang="pl-PL" sz="1625" b="1" i="1" dirty="0">
              <a:solidFill>
                <a:srgbClr val="DC6E00"/>
              </a:solidFill>
              <a:latin typeface="Calibri" panose="020F0502020204030204" pitchFamily="34" charset="0"/>
            </a:endParaRPr>
          </a:p>
        </p:txBody>
      </p:sp>
      <p:sp>
        <p:nvSpPr>
          <p:cNvPr id="133" name="Prostokąt 132"/>
          <p:cNvSpPr/>
          <p:nvPr/>
        </p:nvSpPr>
        <p:spPr>
          <a:xfrm>
            <a:off x="6670672" y="4023496"/>
            <a:ext cx="2139346" cy="14871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FFFFFF"/>
                </a:solidFill>
              </a:rPr>
              <a:t>EMERYTURA</a:t>
            </a:r>
          </a:p>
        </p:txBody>
      </p:sp>
      <p:sp>
        <p:nvSpPr>
          <p:cNvPr id="134" name="Strzałka w prawo 133"/>
          <p:cNvSpPr/>
          <p:nvPr/>
        </p:nvSpPr>
        <p:spPr>
          <a:xfrm>
            <a:off x="8830448" y="3943125"/>
            <a:ext cx="743595" cy="293373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000000"/>
                </a:solidFill>
              </a:rPr>
              <a:t>PO ZGONIE</a:t>
            </a:r>
          </a:p>
        </p:txBody>
      </p:sp>
      <p:sp>
        <p:nvSpPr>
          <p:cNvPr id="135" name="Prostokąt 134"/>
          <p:cNvSpPr/>
          <p:nvPr/>
        </p:nvSpPr>
        <p:spPr>
          <a:xfrm>
            <a:off x="1321056" y="5444365"/>
            <a:ext cx="881520" cy="14871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FFFFFF"/>
                </a:solidFill>
              </a:rPr>
              <a:t>PRZED NARODZINAMI</a:t>
            </a:r>
          </a:p>
        </p:txBody>
      </p:sp>
      <p:sp>
        <p:nvSpPr>
          <p:cNvPr id="136" name="Prostokąt 135"/>
          <p:cNvSpPr/>
          <p:nvPr/>
        </p:nvSpPr>
        <p:spPr>
          <a:xfrm>
            <a:off x="2201305" y="5444365"/>
            <a:ext cx="1136333" cy="14871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000000"/>
                </a:solidFill>
              </a:rPr>
              <a:t>ZŁOBEK I PRZEDSZKOLE</a:t>
            </a:r>
          </a:p>
        </p:txBody>
      </p:sp>
      <p:sp>
        <p:nvSpPr>
          <p:cNvPr id="137" name="Prostokąt 136"/>
          <p:cNvSpPr/>
          <p:nvPr/>
        </p:nvSpPr>
        <p:spPr>
          <a:xfrm>
            <a:off x="3337637" y="5444365"/>
            <a:ext cx="1494173" cy="148715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406" dirty="0">
                <a:solidFill>
                  <a:srgbClr val="FFFFFF"/>
                </a:solidFill>
              </a:rPr>
              <a:t>SZKOŁA, LICEUM I STUDIA</a:t>
            </a:r>
          </a:p>
        </p:txBody>
      </p:sp>
      <p:sp>
        <p:nvSpPr>
          <p:cNvPr id="142" name="Objaśnienie prostokątne 141"/>
          <p:cNvSpPr/>
          <p:nvPr/>
        </p:nvSpPr>
        <p:spPr>
          <a:xfrm>
            <a:off x="2724984" y="1647181"/>
            <a:ext cx="1869430" cy="339489"/>
          </a:xfrm>
          <a:prstGeom prst="wedgeRectCallout">
            <a:avLst>
              <a:gd name="adj1" fmla="val -15370"/>
              <a:gd name="adj2" fmla="val 644914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mLegitymacja Szkolna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Dowód Osobisty dla dziecka</a:t>
            </a:r>
          </a:p>
        </p:txBody>
      </p:sp>
      <p:sp>
        <p:nvSpPr>
          <p:cNvPr id="143" name="Objaśnienie prostokątne 142"/>
          <p:cNvSpPr/>
          <p:nvPr/>
        </p:nvSpPr>
        <p:spPr>
          <a:xfrm>
            <a:off x="1079490" y="2174317"/>
            <a:ext cx="1869430" cy="339489"/>
          </a:xfrm>
          <a:prstGeom prst="wedgeRectCallout">
            <a:avLst>
              <a:gd name="adj1" fmla="val 9697"/>
              <a:gd name="adj2" fmla="val 496696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Rejestracja Narodzin Dziecka</a:t>
            </a:r>
          </a:p>
        </p:txBody>
      </p:sp>
      <p:sp>
        <p:nvSpPr>
          <p:cNvPr id="144" name="Objaśnienie prostokątne 143"/>
          <p:cNvSpPr/>
          <p:nvPr/>
        </p:nvSpPr>
        <p:spPr>
          <a:xfrm>
            <a:off x="3632585" y="2816941"/>
            <a:ext cx="1318775" cy="416369"/>
          </a:xfrm>
          <a:prstGeom prst="wedgeRectCallout">
            <a:avLst>
              <a:gd name="adj1" fmla="val -65825"/>
              <a:gd name="adj2" fmla="val 235799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dziecka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Karta miejska</a:t>
            </a:r>
          </a:p>
        </p:txBody>
      </p:sp>
      <p:sp>
        <p:nvSpPr>
          <p:cNvPr id="146" name="Objaśnienie prostokątne 145"/>
          <p:cNvSpPr/>
          <p:nvPr/>
        </p:nvSpPr>
        <p:spPr>
          <a:xfrm>
            <a:off x="3340111" y="2174170"/>
            <a:ext cx="595532" cy="212149"/>
          </a:xfrm>
          <a:prstGeom prst="wedgeRectCallout">
            <a:avLst>
              <a:gd name="adj1" fmla="val -42055"/>
              <a:gd name="adj2" fmla="val 80661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300+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</p:txBody>
      </p:sp>
      <p:sp>
        <p:nvSpPr>
          <p:cNvPr id="152" name="Objaśnienie prostokątne 151"/>
          <p:cNvSpPr/>
          <p:nvPr/>
        </p:nvSpPr>
        <p:spPr>
          <a:xfrm>
            <a:off x="1419755" y="2609202"/>
            <a:ext cx="1413514" cy="348557"/>
          </a:xfrm>
          <a:prstGeom prst="wedgeRectCallout">
            <a:avLst>
              <a:gd name="adj1" fmla="val -48622"/>
              <a:gd name="adj2" fmla="val 335331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kobiety do prowadzenia ciąży</a:t>
            </a:r>
          </a:p>
        </p:txBody>
      </p:sp>
      <p:sp>
        <p:nvSpPr>
          <p:cNvPr id="153" name="Objaśnienie prostokątne 152"/>
          <p:cNvSpPr/>
          <p:nvPr/>
        </p:nvSpPr>
        <p:spPr>
          <a:xfrm>
            <a:off x="1208307" y="4748364"/>
            <a:ext cx="1307049" cy="307133"/>
          </a:xfrm>
          <a:prstGeom prst="wedgeRectCallout">
            <a:avLst>
              <a:gd name="adj1" fmla="val -27277"/>
              <a:gd name="adj2" fmla="val 18227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wolnienie lekarskie</a:t>
            </a:r>
          </a:p>
        </p:txBody>
      </p:sp>
      <p:sp>
        <p:nvSpPr>
          <p:cNvPr id="154" name="Objaśnienie prostokątne 153"/>
          <p:cNvSpPr/>
          <p:nvPr/>
        </p:nvSpPr>
        <p:spPr>
          <a:xfrm>
            <a:off x="2073897" y="4493535"/>
            <a:ext cx="1307049" cy="307133"/>
          </a:xfrm>
          <a:prstGeom prst="wedgeRectCallout">
            <a:avLst>
              <a:gd name="adj1" fmla="val -38635"/>
              <a:gd name="adj2" fmla="val 253247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Urlop macierzyński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Urlop </a:t>
            </a:r>
            <a:r>
              <a:rPr lang="pl-PL" sz="731" dirty="0" err="1">
                <a:solidFill>
                  <a:srgbClr val="000000"/>
                </a:solidFill>
              </a:rPr>
              <a:t>tacierzyński</a:t>
            </a:r>
            <a:endParaRPr lang="pl-PL" sz="731" dirty="0">
              <a:solidFill>
                <a:srgbClr val="000000"/>
              </a:solidFill>
            </a:endParaRPr>
          </a:p>
        </p:txBody>
      </p:sp>
      <p:sp>
        <p:nvSpPr>
          <p:cNvPr id="155" name="Objaśnienie prostokątne 154"/>
          <p:cNvSpPr/>
          <p:nvPr/>
        </p:nvSpPr>
        <p:spPr>
          <a:xfrm>
            <a:off x="3250560" y="4347588"/>
            <a:ext cx="1307049" cy="307133"/>
          </a:xfrm>
          <a:prstGeom prst="wedgeRectCallout">
            <a:avLst>
              <a:gd name="adj1" fmla="val -109148"/>
              <a:gd name="adj2" fmla="val 304519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Moje przedszkole</a:t>
            </a:r>
          </a:p>
        </p:txBody>
      </p:sp>
      <p:sp>
        <p:nvSpPr>
          <p:cNvPr id="156" name="Objaśnienie prostokątne 155"/>
          <p:cNvSpPr/>
          <p:nvPr/>
        </p:nvSpPr>
        <p:spPr>
          <a:xfrm>
            <a:off x="3292549" y="4708899"/>
            <a:ext cx="1603499" cy="307133"/>
          </a:xfrm>
          <a:prstGeom prst="wedgeRectCallout">
            <a:avLst>
              <a:gd name="adj1" fmla="val -43793"/>
              <a:gd name="adj2" fmla="val 183201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Moja szkoła podstawowa</a:t>
            </a:r>
          </a:p>
        </p:txBody>
      </p:sp>
      <p:sp>
        <p:nvSpPr>
          <p:cNvPr id="157" name="Objaśnienie prostokątne 156"/>
          <p:cNvSpPr/>
          <p:nvPr/>
        </p:nvSpPr>
        <p:spPr>
          <a:xfrm>
            <a:off x="2471157" y="4862465"/>
            <a:ext cx="724222" cy="263065"/>
          </a:xfrm>
          <a:prstGeom prst="wedgeRectCallout">
            <a:avLst>
              <a:gd name="adj1" fmla="val -84807"/>
              <a:gd name="adj2" fmla="val 163557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asiłek</a:t>
            </a:r>
          </a:p>
        </p:txBody>
      </p:sp>
      <p:sp>
        <p:nvSpPr>
          <p:cNvPr id="158" name="Objaśnienie prostokątne 157"/>
          <p:cNvSpPr/>
          <p:nvPr/>
        </p:nvSpPr>
        <p:spPr>
          <a:xfrm>
            <a:off x="3805288" y="4933815"/>
            <a:ext cx="973369" cy="307133"/>
          </a:xfrm>
          <a:prstGeom prst="wedgeRectCallout">
            <a:avLst>
              <a:gd name="adj1" fmla="val -33188"/>
              <a:gd name="adj2" fmla="val 117273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Moje liceum</a:t>
            </a:r>
          </a:p>
        </p:txBody>
      </p:sp>
      <p:sp>
        <p:nvSpPr>
          <p:cNvPr id="148" name="Objaśnienie prostokątne 147"/>
          <p:cNvSpPr/>
          <p:nvPr/>
        </p:nvSpPr>
        <p:spPr>
          <a:xfrm>
            <a:off x="2769471" y="2502857"/>
            <a:ext cx="1145506" cy="252227"/>
          </a:xfrm>
          <a:prstGeom prst="wedgeRectCallout">
            <a:avLst>
              <a:gd name="adj1" fmla="val -90509"/>
              <a:gd name="adj2" fmla="val 557222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dziecka do żłobka</a:t>
            </a:r>
          </a:p>
        </p:txBody>
      </p:sp>
      <p:sp>
        <p:nvSpPr>
          <p:cNvPr id="145" name="Objaśnienie prostokątne 144"/>
          <p:cNvSpPr/>
          <p:nvPr/>
        </p:nvSpPr>
        <p:spPr>
          <a:xfrm>
            <a:off x="2073897" y="3030171"/>
            <a:ext cx="1302173" cy="555108"/>
          </a:xfrm>
          <a:prstGeom prst="wedgeRectCallout">
            <a:avLst>
              <a:gd name="adj1" fmla="val -38538"/>
              <a:gd name="adj2" fmla="val 128795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Karta dużej rodziny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Becikowe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500+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</p:txBody>
      </p:sp>
      <p:sp>
        <p:nvSpPr>
          <p:cNvPr id="147" name="Objaśnienie prostokątne 146"/>
          <p:cNvSpPr/>
          <p:nvPr/>
        </p:nvSpPr>
        <p:spPr>
          <a:xfrm>
            <a:off x="2802129" y="3405465"/>
            <a:ext cx="1147881" cy="252227"/>
          </a:xfrm>
          <a:prstGeom prst="wedgeRectCallout">
            <a:avLst>
              <a:gd name="adj1" fmla="val -49345"/>
              <a:gd name="adj2" fmla="val 20167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dziecka do przedszkola</a:t>
            </a:r>
          </a:p>
        </p:txBody>
      </p:sp>
      <p:sp>
        <p:nvSpPr>
          <p:cNvPr id="161" name="Objaśnienie prostokątne 160"/>
          <p:cNvSpPr/>
          <p:nvPr/>
        </p:nvSpPr>
        <p:spPr>
          <a:xfrm>
            <a:off x="6819487" y="1728015"/>
            <a:ext cx="1366134" cy="234953"/>
          </a:xfrm>
          <a:prstGeom prst="wedgeRectCallout">
            <a:avLst>
              <a:gd name="adj1" fmla="val -115405"/>
              <a:gd name="adj2" fmla="val 903462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Składki emerytalne</a:t>
            </a:r>
          </a:p>
        </p:txBody>
      </p:sp>
      <p:sp>
        <p:nvSpPr>
          <p:cNvPr id="162" name="Objaśnienie prostokątne 161"/>
          <p:cNvSpPr/>
          <p:nvPr/>
        </p:nvSpPr>
        <p:spPr>
          <a:xfrm>
            <a:off x="6625512" y="2283547"/>
            <a:ext cx="1366134" cy="234953"/>
          </a:xfrm>
          <a:prstGeom prst="wedgeRectCallout">
            <a:avLst>
              <a:gd name="adj1" fmla="val -82588"/>
              <a:gd name="adj2" fmla="val 690162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Wniosek o paszport</a:t>
            </a:r>
          </a:p>
        </p:txBody>
      </p:sp>
      <p:sp>
        <p:nvSpPr>
          <p:cNvPr id="163" name="Objaśnienie prostokątne 162"/>
          <p:cNvSpPr/>
          <p:nvPr/>
        </p:nvSpPr>
        <p:spPr>
          <a:xfrm>
            <a:off x="5517816" y="1826320"/>
            <a:ext cx="1344288" cy="242258"/>
          </a:xfrm>
          <a:prstGeom prst="wedgeRectCallout">
            <a:avLst>
              <a:gd name="adj1" fmla="val -81662"/>
              <a:gd name="adj2" fmla="val 859135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studenta</a:t>
            </a:r>
          </a:p>
        </p:txBody>
      </p:sp>
      <p:sp>
        <p:nvSpPr>
          <p:cNvPr id="164" name="Objaśnienie prostokątne 163"/>
          <p:cNvSpPr/>
          <p:nvPr/>
        </p:nvSpPr>
        <p:spPr>
          <a:xfrm>
            <a:off x="5609811" y="2074573"/>
            <a:ext cx="1516850" cy="246801"/>
          </a:xfrm>
          <a:prstGeom prst="wedgeRectCallout">
            <a:avLst>
              <a:gd name="adj1" fmla="val -76647"/>
              <a:gd name="adj2" fmla="val 724377"/>
            </a:avLst>
          </a:prstGeom>
          <a:ln>
            <a:solidFill>
              <a:srgbClr val="FFC0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Legitymacja Studencka</a:t>
            </a:r>
          </a:p>
        </p:txBody>
      </p:sp>
      <p:sp>
        <p:nvSpPr>
          <p:cNvPr id="165" name="Objaśnienie prostokątne 164"/>
          <p:cNvSpPr/>
          <p:nvPr/>
        </p:nvSpPr>
        <p:spPr>
          <a:xfrm>
            <a:off x="5914445" y="2662351"/>
            <a:ext cx="1000527" cy="242258"/>
          </a:xfrm>
          <a:prstGeom prst="wedgeRectCallout">
            <a:avLst>
              <a:gd name="adj1" fmla="val -119672"/>
              <a:gd name="adj2" fmla="val 521223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Stypendium</a:t>
            </a:r>
          </a:p>
        </p:txBody>
      </p:sp>
      <p:sp>
        <p:nvSpPr>
          <p:cNvPr id="168" name="Objaśnienie prostokątne 167"/>
          <p:cNvSpPr/>
          <p:nvPr/>
        </p:nvSpPr>
        <p:spPr>
          <a:xfrm>
            <a:off x="7840212" y="1964079"/>
            <a:ext cx="1844642" cy="460280"/>
          </a:xfrm>
          <a:prstGeom prst="wedgeRectCallout">
            <a:avLst>
              <a:gd name="adj1" fmla="val -110774"/>
              <a:gd name="adj2" fmla="val 39457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Wniosek o wskazanie wysokości stawek emerytalnych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Wniosek o wypłatę świadczeń emerytalnych</a:t>
            </a:r>
          </a:p>
        </p:txBody>
      </p:sp>
      <p:sp>
        <p:nvSpPr>
          <p:cNvPr id="149" name="Objaśnienie prostokątne 148"/>
          <p:cNvSpPr/>
          <p:nvPr/>
        </p:nvSpPr>
        <p:spPr>
          <a:xfrm>
            <a:off x="4104303" y="3177900"/>
            <a:ext cx="1413514" cy="299943"/>
          </a:xfrm>
          <a:prstGeom prst="wedgeRectCallout">
            <a:avLst>
              <a:gd name="adj1" fmla="val -83323"/>
              <a:gd name="adj2" fmla="val 223884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Paszport dla dziecka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endParaRPr lang="pl-PL" sz="731" dirty="0">
              <a:solidFill>
                <a:srgbClr val="000000"/>
              </a:solidFill>
            </a:endParaRPr>
          </a:p>
        </p:txBody>
      </p:sp>
      <p:sp>
        <p:nvSpPr>
          <p:cNvPr id="150" name="Objaśnienie prostokątne 149"/>
          <p:cNvSpPr/>
          <p:nvPr/>
        </p:nvSpPr>
        <p:spPr>
          <a:xfrm>
            <a:off x="4435225" y="3432149"/>
            <a:ext cx="1413514" cy="237335"/>
          </a:xfrm>
          <a:prstGeom prst="wedgeRectCallout">
            <a:avLst>
              <a:gd name="adj1" fmla="val -101607"/>
              <a:gd name="adj2" fmla="val 191024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EKUZ dla dziecka</a:t>
            </a:r>
          </a:p>
        </p:txBody>
      </p:sp>
      <p:sp>
        <p:nvSpPr>
          <p:cNvPr id="151" name="Objaśnienie prostokątne 150"/>
          <p:cNvSpPr/>
          <p:nvPr/>
        </p:nvSpPr>
        <p:spPr>
          <a:xfrm>
            <a:off x="4678243" y="3647205"/>
            <a:ext cx="1126318" cy="252227"/>
          </a:xfrm>
          <a:prstGeom prst="wedgeRectCallout">
            <a:avLst>
              <a:gd name="adj1" fmla="val -89236"/>
              <a:gd name="adj2" fmla="val 95019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dziecka do liceum</a:t>
            </a:r>
          </a:p>
        </p:txBody>
      </p:sp>
      <p:sp>
        <p:nvSpPr>
          <p:cNvPr id="166" name="Objaśnienie prostokątne 165"/>
          <p:cNvSpPr/>
          <p:nvPr/>
        </p:nvSpPr>
        <p:spPr>
          <a:xfrm>
            <a:off x="5588854" y="3188498"/>
            <a:ext cx="1554427" cy="343080"/>
          </a:xfrm>
          <a:prstGeom prst="wedgeRectCallout">
            <a:avLst>
              <a:gd name="adj1" fmla="val -53339"/>
              <a:gd name="adj2" fmla="val 187639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oda na wykorzystanie narządów</a:t>
            </a:r>
          </a:p>
        </p:txBody>
      </p:sp>
      <p:sp>
        <p:nvSpPr>
          <p:cNvPr id="159" name="Objaśnienie prostokątne 158"/>
          <p:cNvSpPr/>
          <p:nvPr/>
        </p:nvSpPr>
        <p:spPr>
          <a:xfrm>
            <a:off x="7214319" y="2627537"/>
            <a:ext cx="1548215" cy="732502"/>
          </a:xfrm>
          <a:prstGeom prst="wedgeRectCallout">
            <a:avLst>
              <a:gd name="adj1" fmla="val -94090"/>
              <a:gd name="adj2" fmla="val 14057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Ślub cywilny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Rozwód cywilny</a:t>
            </a: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Rozdzielność majątkowa</a:t>
            </a:r>
          </a:p>
        </p:txBody>
      </p:sp>
      <p:sp>
        <p:nvSpPr>
          <p:cNvPr id="169" name="Objaśnienie prostokątne 168"/>
          <p:cNvSpPr/>
          <p:nvPr/>
        </p:nvSpPr>
        <p:spPr>
          <a:xfrm>
            <a:off x="8172272" y="3233310"/>
            <a:ext cx="1497245" cy="425157"/>
          </a:xfrm>
          <a:prstGeom prst="wedgeRectCallout">
            <a:avLst>
              <a:gd name="adj1" fmla="val -5609"/>
              <a:gd name="adj2" fmla="val 135264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pl-PL" sz="731" dirty="0">
                <a:solidFill>
                  <a:srgbClr val="000000"/>
                </a:solidFill>
              </a:rPr>
              <a:t>Zgłoszenie śmierci bliskiej osoby</a:t>
            </a:r>
          </a:p>
        </p:txBody>
      </p:sp>
      <p:sp>
        <p:nvSpPr>
          <p:cNvPr id="170" name="pole tekstowe 169"/>
          <p:cNvSpPr txBox="1"/>
          <p:nvPr/>
        </p:nvSpPr>
        <p:spPr>
          <a:xfrm>
            <a:off x="4799733" y="4162907"/>
            <a:ext cx="487634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000000"/>
                </a:solidFill>
              </a:rPr>
              <a:t>dorosły</a:t>
            </a:r>
          </a:p>
        </p:txBody>
      </p:sp>
      <p:sp>
        <p:nvSpPr>
          <p:cNvPr id="172" name="Strzałka w prawo 171"/>
          <p:cNvSpPr/>
          <p:nvPr/>
        </p:nvSpPr>
        <p:spPr>
          <a:xfrm>
            <a:off x="4844612" y="5370603"/>
            <a:ext cx="4729431" cy="293373"/>
          </a:xfrm>
          <a:prstGeom prst="rightArrow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406" dirty="0">
              <a:solidFill>
                <a:srgbClr val="000000"/>
              </a:solidFill>
            </a:endParaRPr>
          </a:p>
        </p:txBody>
      </p:sp>
      <p:sp>
        <p:nvSpPr>
          <p:cNvPr id="180" name="pole tekstowe 179"/>
          <p:cNvSpPr txBox="1"/>
          <p:nvPr/>
        </p:nvSpPr>
        <p:spPr>
          <a:xfrm rot="16200000">
            <a:off x="2024350" y="1397997"/>
            <a:ext cx="593432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FF0000"/>
                </a:solidFill>
              </a:rPr>
              <a:t>narodziny</a:t>
            </a:r>
          </a:p>
        </p:txBody>
      </p:sp>
      <p:sp>
        <p:nvSpPr>
          <p:cNvPr id="181" name="pole tekstowe 180"/>
          <p:cNvSpPr txBox="1"/>
          <p:nvPr/>
        </p:nvSpPr>
        <p:spPr>
          <a:xfrm rot="16200000">
            <a:off x="4607178" y="1394391"/>
            <a:ext cx="715260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FF0000"/>
                </a:solidFill>
              </a:rPr>
              <a:t>pełnoletność</a:t>
            </a:r>
          </a:p>
        </p:txBody>
      </p:sp>
      <p:sp>
        <p:nvSpPr>
          <p:cNvPr id="183" name="pole tekstowe 182"/>
          <p:cNvSpPr txBox="1"/>
          <p:nvPr/>
        </p:nvSpPr>
        <p:spPr>
          <a:xfrm rot="16200000">
            <a:off x="8741257" y="1467060"/>
            <a:ext cx="389850" cy="2048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731" dirty="0">
                <a:solidFill>
                  <a:srgbClr val="FF0000"/>
                </a:solidFill>
              </a:rPr>
              <a:t>zgon</a:t>
            </a:r>
          </a:p>
        </p:txBody>
      </p:sp>
    </p:spTree>
    <p:extLst>
      <p:ext uri="{BB962C8B-B14F-4D97-AF65-F5344CB8AC3E}">
        <p14:creationId xmlns:p14="http://schemas.microsoft.com/office/powerpoint/2010/main" val="4134550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55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33598" y="2636913"/>
            <a:ext cx="4435926" cy="1944215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6" y="1156775"/>
            <a:ext cx="9043054" cy="773956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217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vacat</a:t>
            </a:r>
          </a:p>
          <a:p>
            <a:pPr marL="1362033" lvl="3" indent="-199490">
              <a:spcAft>
                <a:spcPts val="217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Dominik Wójcicki (MR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Zwiększenie Obrotu Bezgotówkowego </a:t>
            </a:r>
            <a:r>
              <a:rPr lang="pl-PL" altLang="pl-PL" sz="2000" dirty="0" smtClean="0">
                <a:solidFill>
                  <a:srgbClr val="0166B6"/>
                </a:solidFill>
              </a:rPr>
              <a:t>wdraża inicjatywy ograniczające obieg gotówki w gospodarce 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55861" y="2815847"/>
            <a:ext cx="4238372" cy="2532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70C0"/>
                </a:solidFill>
                <a:latin typeface="Calibri" pitchFamily="34" charset="0"/>
              </a:rPr>
              <a:t>Rozszerzenie Programu Wsparcia Obrotu Bezgotówkowego dla </a:t>
            </a:r>
            <a:r>
              <a:rPr lang="pl-PL" altLang="pl-PL" sz="1300" b="1" dirty="0">
                <a:solidFill>
                  <a:srgbClr val="0070C0"/>
                </a:solidFill>
                <a:latin typeface="Calibri" pitchFamily="34" charset="0"/>
              </a:rPr>
              <a:t>jednostek </a:t>
            </a: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publicznych 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– działania dot. sądów, administracji skarbowej i służby zdrowia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drażanie </a:t>
            </a: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u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sparcia Obrotu Bezgotówkowego Polska Bezgotówkowa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darmowa instalacja terminali płatniczych dla przedsiębiorców i brak kosztów ich użytkowania przez pierwsze 12 miesięcy od momentu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instalowania </a:t>
            </a:r>
            <a:r>
              <a:rPr lang="pl-PL" sz="1300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ok. </a:t>
            </a:r>
            <a:r>
              <a:rPr lang="pl-PL" sz="1300" b="1" u="sng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25 tys. terminali POS </a:t>
            </a:r>
            <a:r>
              <a:rPr lang="pl-PL" sz="1300" u="sng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. 2019r.</a:t>
            </a:r>
            <a:r>
              <a:rPr lang="pl-PL" sz="1300" dirty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pl-PL" altLang="pl-PL" sz="1300" b="1" dirty="0">
              <a:solidFill>
                <a:srgbClr val="0166B6"/>
              </a:solidFill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609184" y="2232075"/>
            <a:ext cx="3060340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.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37" name="Group 31"/>
          <p:cNvGrpSpPr>
            <a:grpSpLocks/>
          </p:cNvGrpSpPr>
          <p:nvPr/>
        </p:nvGrpSpPr>
        <p:grpSpPr bwMode="auto">
          <a:xfrm>
            <a:off x="626940" y="1327637"/>
            <a:ext cx="702000" cy="517187"/>
            <a:chOff x="1019177" y="1648406"/>
            <a:chExt cx="869682" cy="740783"/>
          </a:xfrm>
        </p:grpSpPr>
        <p:grpSp>
          <p:nvGrpSpPr>
            <p:cNvPr id="38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40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41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42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43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39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2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2091858"/>
              </p:ext>
            </p:extLst>
          </p:nvPr>
        </p:nvGraphicFramePr>
        <p:xfrm>
          <a:off x="547709" y="2636913"/>
          <a:ext cx="4367513" cy="12009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64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671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066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9285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0440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9002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210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Wprowadzenie ustawowego obowiązku zapłaty instrumentem elektronicznym</a:t>
                      </a:r>
                    </a:p>
                    <a:p>
                      <a:pPr algn="l" rtl="0" fontAlgn="ctr"/>
                      <a:endParaRPr lang="pl-PL" sz="900" b="0" i="1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err="1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c</a:t>
                      </a: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5" name="Grupa 24"/>
          <p:cNvGrpSpPr/>
          <p:nvPr/>
        </p:nvGrpSpPr>
        <p:grpSpPr>
          <a:xfrm>
            <a:off x="3646285" y="3494146"/>
            <a:ext cx="223087" cy="209515"/>
            <a:chOff x="3762154" y="6525499"/>
            <a:chExt cx="223087" cy="209515"/>
          </a:xfrm>
        </p:grpSpPr>
        <p:sp>
          <p:nvSpPr>
            <p:cNvPr id="26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29" name="Łącznik prosty ze strzałką 28"/>
          <p:cNvCxnSpPr/>
          <p:nvPr/>
        </p:nvCxnSpPr>
        <p:spPr>
          <a:xfrm flipV="1">
            <a:off x="239860" y="3571054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115"/>
          <p:cNvSpPr/>
          <p:nvPr/>
        </p:nvSpPr>
        <p:spPr bwMode="gray">
          <a:xfrm>
            <a:off x="4116520" y="3493601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Prostokąt zaokrąglony 22"/>
          <p:cNvSpPr/>
          <p:nvPr/>
        </p:nvSpPr>
        <p:spPr>
          <a:xfrm>
            <a:off x="6272577" y="1071185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czerwcu 2016 r. </a:t>
            </a:r>
          </a:p>
        </p:txBody>
      </p:sp>
    </p:spTree>
    <p:extLst>
      <p:ext uri="{BB962C8B-B14F-4D97-AF65-F5344CB8AC3E}">
        <p14:creationId xmlns:p14="http://schemas.microsoft.com/office/powerpoint/2010/main" val="1499684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560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478443" y="2483373"/>
            <a:ext cx="4177403" cy="1816454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344488" y="1135787"/>
            <a:ext cx="8858110" cy="760983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brak 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inik Wójcicki (MR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e-Faktura i e-Paragon </a:t>
            </a:r>
            <a:r>
              <a:rPr lang="pl-PL" altLang="pl-PL" sz="2000" dirty="0" smtClean="0">
                <a:solidFill>
                  <a:srgbClr val="0166B6"/>
                </a:solidFill>
              </a:rPr>
              <a:t>realizuje inicjatywy cyfryzujące obieg dokumentów w zamówieniach publicznych i handlu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474932" y="2482254"/>
            <a:ext cx="4158588" cy="1790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99744" lvl="1">
              <a:spcAft>
                <a:spcPts val="650"/>
              </a:spcAft>
              <a:buClr>
                <a:srgbClr val="0D5681"/>
              </a:buClr>
            </a:pPr>
            <a:r>
              <a:rPr lang="pl-PL" altLang="pl-PL" sz="1300" b="1" dirty="0" smtClean="0">
                <a:solidFill>
                  <a:srgbClr val="0166B6"/>
                </a:solidFill>
                <a:latin typeface="Calibri" pitchFamily="34" charset="0"/>
              </a:rPr>
              <a:t>     e-Faktura</a:t>
            </a:r>
            <a:r>
              <a:rPr lang="pl-PL" altLang="pl-PL" sz="1300" b="1" dirty="0" smtClean="0">
                <a:latin typeface="Calibri" pitchFamily="34" charset="0"/>
              </a:rPr>
              <a:t> </a:t>
            </a:r>
            <a:endParaRPr lang="pl-PL" altLang="pl-PL" sz="1300" b="1" dirty="0">
              <a:latin typeface="Calibri" pitchFamily="34" charset="0"/>
            </a:endParaRPr>
          </a:p>
          <a:p>
            <a:pPr marL="285750" lvl="1" indent="-192088">
              <a:buClr>
                <a:srgbClr val="0D5681"/>
              </a:buClr>
              <a:buFont typeface="Arial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drożenie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tformy Elektronicznego Fakturowania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2A</a:t>
            </a:r>
          </a:p>
          <a:p>
            <a:pPr marL="93662" lvl="1">
              <a:buClr>
                <a:srgbClr val="0D5681"/>
              </a:buClr>
            </a:pPr>
            <a:endParaRPr lang="pl-PL" sz="1300" dirty="0" smtClean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3662" lvl="1">
              <a:buClr>
                <a:srgbClr val="0D5681"/>
              </a:buClr>
            </a:pPr>
            <a:r>
              <a:rPr lang="pl-PL" sz="1300" b="1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e-Paragon </a:t>
            </a:r>
          </a:p>
          <a:p>
            <a:pPr marL="285750" indent="-19208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zpoczęcie </a:t>
            </a: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lotażu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paragonu</a:t>
            </a:r>
          </a:p>
          <a:p>
            <a:pPr marL="285750" indent="-192088"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nsywne </a:t>
            </a:r>
            <a:r>
              <a:rPr lang="pl-PL" sz="1300" dirty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e w Ministerstwie Finansów nad kasami fiskalnymi on-line, które mają umożliwić </a:t>
            </a:r>
            <a:r>
              <a:rPr lang="pl-PL" sz="1300" dirty="0" smtClean="0">
                <a:solidFill>
                  <a:srgbClr val="0166B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paragon.</a:t>
            </a:r>
            <a:endParaRPr lang="pl-PL" altLang="pl-PL" sz="1300" dirty="0" smtClean="0">
              <a:solidFill>
                <a:srgbClr val="0070C0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551788" y="2170042"/>
            <a:ext cx="2925513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. 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25" name="Group 31"/>
          <p:cNvGrpSpPr>
            <a:grpSpLocks/>
          </p:cNvGrpSpPr>
          <p:nvPr/>
        </p:nvGrpSpPr>
        <p:grpSpPr bwMode="auto">
          <a:xfrm>
            <a:off x="512350" y="1289211"/>
            <a:ext cx="702000" cy="601140"/>
            <a:chOff x="1019177" y="1648406"/>
            <a:chExt cx="869682" cy="740783"/>
          </a:xfrm>
        </p:grpSpPr>
        <p:grpSp>
          <p:nvGrpSpPr>
            <p:cNvPr id="2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29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0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1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2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28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1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969425"/>
              </p:ext>
            </p:extLst>
          </p:nvPr>
        </p:nvGraphicFramePr>
        <p:xfrm>
          <a:off x="420754" y="2492896"/>
          <a:ext cx="4824535" cy="14142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9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566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597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39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718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4807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- Faktura </a:t>
                      </a:r>
                    </a:p>
                    <a:p>
                      <a:pPr algn="ctr" rtl="0" fontAlgn="ctr"/>
                      <a:endParaRPr lang="pl-PL" sz="1200" b="1" u="none" strike="noStrike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ctr"/>
                      <a:r>
                        <a:rPr lang="pl-PL" sz="1000" b="1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61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900" b="0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 platformy pośredniczącej e-fakturowania dla sfery finansów publicznych B2A (projekt POPC)</a:t>
                      </a:r>
                      <a:endParaRPr lang="pl-PL" sz="900" b="0" i="0" u="none" strike="noStrike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Wdrożenie e-fakturowania</a:t>
                      </a:r>
                      <a:r>
                        <a:rPr lang="pl-PL" sz="900" b="0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 B2B</a:t>
                      </a:r>
                      <a:endParaRPr lang="pl-PL" sz="900" b="0" i="0" u="none" strike="noStrike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rtl="0" fontAlgn="ctr"/>
                      <a:endParaRPr lang="pl-PL" sz="90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err="1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c</a:t>
                      </a: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2" name="Oval 24"/>
          <p:cNvSpPr/>
          <p:nvPr>
            <p:custDataLst>
              <p:tags r:id="rId4"/>
            </p:custDataLst>
          </p:nvPr>
        </p:nvSpPr>
        <p:spPr bwMode="gray">
          <a:xfrm>
            <a:off x="3849015" y="363488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clipart_tick"/>
          <p:cNvSpPr>
            <a:spLocks noChangeAspect="1"/>
          </p:cNvSpPr>
          <p:nvPr/>
        </p:nvSpPr>
        <p:spPr bwMode="gray">
          <a:xfrm>
            <a:off x="4333890" y="3307338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5" name="Łącznik prosty ze strzałką 34"/>
          <p:cNvCxnSpPr/>
          <p:nvPr/>
        </p:nvCxnSpPr>
        <p:spPr>
          <a:xfrm flipV="1">
            <a:off x="158750" y="3731915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376477"/>
              </p:ext>
            </p:extLst>
          </p:nvPr>
        </p:nvGraphicFramePr>
        <p:xfrm>
          <a:off x="465016" y="4127226"/>
          <a:ext cx="4782775" cy="942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2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679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6178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557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924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775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- Paragon</a:t>
                      </a:r>
                    </a:p>
                    <a:p>
                      <a:pPr algn="ctr" rtl="0" fontAlgn="ctr"/>
                      <a:endParaRPr lang="pl-PL" sz="1200" b="1" u="none" strike="noStrike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ctr"/>
                      <a:r>
                        <a:rPr lang="pl-PL" sz="1000" b="1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694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Koncepcja</a:t>
                      </a:r>
                      <a:r>
                        <a:rPr lang="pl-PL" sz="900" b="0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 legislacyjna dla e-Paragonu</a:t>
                      </a:r>
                      <a:endParaRPr lang="pl-PL" sz="900" b="0" i="0" u="none" strike="noStrike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rtl="0" fontAlgn="ctr"/>
                      <a:endParaRPr lang="pl-PL" sz="90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err="1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c</a:t>
                      </a: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7" name="Oval 24"/>
          <p:cNvSpPr/>
          <p:nvPr>
            <p:custDataLst>
              <p:tags r:id="rId5"/>
            </p:custDataLst>
          </p:nvPr>
        </p:nvSpPr>
        <p:spPr bwMode="gray">
          <a:xfrm>
            <a:off x="3824097" y="4828501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8" name="Łącznik prosty ze strzałką 37"/>
          <p:cNvCxnSpPr/>
          <p:nvPr/>
        </p:nvCxnSpPr>
        <p:spPr>
          <a:xfrm flipV="1">
            <a:off x="184064" y="4925528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rostokąt zaokrąglony 22"/>
          <p:cNvSpPr/>
          <p:nvPr/>
        </p:nvSpPr>
        <p:spPr>
          <a:xfrm>
            <a:off x="6007211" y="1042849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czerwcu 2016 r. </a:t>
            </a:r>
          </a:p>
        </p:txBody>
      </p:sp>
    </p:spTree>
    <p:extLst>
      <p:ext uri="{BB962C8B-B14F-4D97-AF65-F5344CB8AC3E}">
        <p14:creationId xmlns:p14="http://schemas.microsoft.com/office/powerpoint/2010/main" val="425209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4664969" y="2758203"/>
            <a:ext cx="5025994" cy="2975053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503892" y="1188389"/>
            <a:ext cx="9043054" cy="780168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masz Wiśniewski (</a:t>
            </a:r>
            <a:r>
              <a:rPr lang="pl-PL" sz="1400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BR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Polska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Szymon Wiśniewski (MF)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pl-PL" altLang="pl-PL" sz="2000" dirty="0">
                <a:solidFill>
                  <a:srgbClr val="0166B6"/>
                </a:solidFill>
              </a:rPr>
              <a:t>Strumień</a:t>
            </a:r>
            <a:r>
              <a:rPr lang="pl-PL" altLang="pl-PL" sz="2000" dirty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e-Sprawozdawczość </a:t>
            </a:r>
            <a:r>
              <a:rPr lang="pl-PL" altLang="pl-PL" sz="2000" dirty="0" smtClean="0">
                <a:solidFill>
                  <a:srgbClr val="0166B6"/>
                </a:solidFill>
              </a:rPr>
              <a:t>pracuje nad usunięciem redundancji danych sprawozdawczych przedsiębiorców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4835576" y="2821272"/>
            <a:ext cx="4737962" cy="2809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alt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portowanie zintegrowane</a:t>
            </a:r>
            <a:r>
              <a:rPr lang="pl-PL" alt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355600" indent="-1778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l-PL" alt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sprawozdania </a:t>
            </a:r>
            <a:r>
              <a:rPr lang="pl-PL" alt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zedsiębiorców zarejestrowanych w KRS wysłane do KRS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ycznie otrzymuje też administracja skarbowa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ok. 0,5 mln e-sprawozdań</a:t>
            </a:r>
            <a:endParaRPr lang="pl-PL" sz="13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5600" indent="-1778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l-PL" alt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sprawozdania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atników PIT, którzy prowadzą księgi rachunkowe i mają obowiązek ich sporządzania, przekazywane są wyłącznie do Szefa Krajowej Administracji Skarbowej (KAS) 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ok 21 tys. sprawozdań</a:t>
            </a:r>
          </a:p>
          <a:p>
            <a:pPr marL="355600" indent="-17780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raporty składane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 KNF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od marca 2019r)</a:t>
            </a:r>
            <a:endParaRPr lang="pl-PL" sz="13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tal </a:t>
            </a:r>
            <a:r>
              <a:rPr lang="pl-PL" sz="13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KRS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zwiększenie dostępności informacji gospodarczej 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likacja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Sprawozdania Finansowe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Portalu Podatkowym (dla raportów składanych do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S)</a:t>
            </a:r>
            <a:endParaRPr lang="pl-PL" altLang="pl-PL" sz="1300" dirty="0">
              <a:solidFill>
                <a:srgbClr val="0070C0"/>
              </a:solidFill>
              <a:latin typeface="Calibri" pitchFamily="34" charset="0"/>
              <a:cs typeface="Calibri" panose="020F0502020204030204" pitchFamily="34" charset="0"/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852089" y="2337585"/>
            <a:ext cx="305391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.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9767" y="1342648"/>
            <a:ext cx="599438" cy="543875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1" name="Table 74"/>
          <p:cNvGraphicFramePr>
            <a:graphicFrameLocks noGrp="1"/>
          </p:cNvGraphicFramePr>
          <p:nvPr>
            <p:extLst/>
          </p:nvPr>
        </p:nvGraphicFramePr>
        <p:xfrm>
          <a:off x="712812" y="2776721"/>
          <a:ext cx="3452126" cy="16584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8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233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9878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Bieżący</a:t>
                      </a:r>
                      <a:r>
                        <a:rPr lang="pl-PL" sz="1000" b="1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 zakres prac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8177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Arial" pitchFamily="34" charset="0"/>
                        </a:rPr>
                        <a:t>Analiza możliwości integracji raportowania realizowanego na potrzeby MS i MF z raportowaniem na potrzeby GUS</a:t>
                      </a:r>
                    </a:p>
                    <a:p>
                      <a:pPr algn="l" rtl="0" fontAlgn="ctr"/>
                      <a:endParaRPr lang="pl-PL" sz="900" b="0" i="1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4165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rgbClr val="0070C0"/>
                          </a:solidFill>
                          <a:latin typeface="Calibri" panose="020F0502020204030204" pitchFamily="34" charset="0"/>
                          <a:cs typeface="Arial" pitchFamily="34" charset="0"/>
                        </a:rPr>
                        <a:t>Implementacja raportowania elektronicznego na rynku kapitałowym w zakresie rynku regulowanego (KNF) i alternatywnego (GPW)</a:t>
                      </a:r>
                    </a:p>
                    <a:p>
                      <a:pPr algn="l" rtl="0" fontAlgn="ctr"/>
                      <a:endParaRPr lang="pl-PL" sz="900" kern="1200" baseline="0" dirty="0" smtClean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22" name="Łącznik prosty ze strzałką 21"/>
          <p:cNvCxnSpPr/>
          <p:nvPr/>
        </p:nvCxnSpPr>
        <p:spPr>
          <a:xfrm flipV="1">
            <a:off x="357547" y="3573016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Łącznik prosty ze strzałką 22"/>
          <p:cNvCxnSpPr/>
          <p:nvPr/>
        </p:nvCxnSpPr>
        <p:spPr>
          <a:xfrm flipV="1">
            <a:off x="385333" y="4118133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rostokąt zaokrąglony 18"/>
          <p:cNvSpPr/>
          <p:nvPr/>
        </p:nvSpPr>
        <p:spPr>
          <a:xfrm>
            <a:off x="6338114" y="1121034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sierpniu 2016 r. </a:t>
            </a:r>
          </a:p>
        </p:txBody>
      </p:sp>
    </p:spTree>
    <p:extLst>
      <p:ext uri="{BB962C8B-B14F-4D97-AF65-F5344CB8AC3E}">
        <p14:creationId xmlns:p14="http://schemas.microsoft.com/office/powerpoint/2010/main" val="763373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84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520200" y="2744025"/>
            <a:ext cx="4301335" cy="202269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373734" y="1224127"/>
            <a:ext cx="8855571" cy="792880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Bogusław Śliwczyński (ILiM) 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Adrian Mazur (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) 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e-Transport i e-Przepływy </a:t>
            </a:r>
            <a:r>
              <a:rPr lang="pl-PL" altLang="pl-PL" sz="2000" dirty="0">
                <a:solidFill>
                  <a:srgbClr val="DC6E00"/>
                </a:solidFill>
              </a:rPr>
              <a:t>T</a:t>
            </a:r>
            <a:r>
              <a:rPr lang="pl-PL" altLang="pl-PL" sz="2000" dirty="0" smtClean="0">
                <a:solidFill>
                  <a:srgbClr val="DC6E00"/>
                </a:solidFill>
              </a:rPr>
              <a:t>owarów </a:t>
            </a:r>
            <a:r>
              <a:rPr lang="pl-PL" altLang="pl-PL" sz="2000" dirty="0" smtClean="0">
                <a:solidFill>
                  <a:srgbClr val="0166B6"/>
                </a:solidFill>
              </a:rPr>
              <a:t>zajmuje się centralizacją systemów zarządzania ruchem oraz udrożnieniem łańcucha dostaw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557392" y="2881042"/>
            <a:ext cx="4287440" cy="1803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KSZR w sieci TEN-T – </a:t>
            </a: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2 postępowania przetargowe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: na centralny projekt wdrożeniowy i 4 regionalne projekty wdrożeniowe, rozpoczęcie realizacji modułu centralnego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Ratyfikacja przez RP protokołu e-CMR 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do konwencji CMR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System informacji rzecznej RIS Dolnej Odry – </a:t>
            </a:r>
            <a:r>
              <a:rPr lang="pl-PL" altLang="pl-PL" sz="1300" b="1" dirty="0" smtClean="0">
                <a:solidFill>
                  <a:srgbClr val="0070C0"/>
                </a:solidFill>
                <a:latin typeface="Calibri" pitchFamily="34" charset="0"/>
              </a:rPr>
              <a:t>2 postępowania przetargowe</a:t>
            </a:r>
            <a:r>
              <a:rPr lang="pl-PL" altLang="pl-PL" sz="1300" dirty="0" smtClean="0">
                <a:solidFill>
                  <a:srgbClr val="0070C0"/>
                </a:solidFill>
                <a:latin typeface="Calibri" pitchFamily="34" charset="0"/>
              </a:rPr>
              <a:t>: na wyłonienie wykonawcy i inżyniera kontraktu, rozpoczęcie prac projektowych oraz instalacyjno-wdrożeniowych </a:t>
            </a:r>
            <a:endParaRPr lang="pl-PL" altLang="pl-PL" sz="1300" dirty="0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897216" y="2348880"/>
            <a:ext cx="2872149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 w 2019r.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35" name="Group 31"/>
          <p:cNvGrpSpPr>
            <a:grpSpLocks/>
          </p:cNvGrpSpPr>
          <p:nvPr/>
        </p:nvGrpSpPr>
        <p:grpSpPr bwMode="auto">
          <a:xfrm>
            <a:off x="640311" y="1405515"/>
            <a:ext cx="599438" cy="543875"/>
            <a:chOff x="1019177" y="1648406"/>
            <a:chExt cx="869682" cy="740783"/>
          </a:xfrm>
        </p:grpSpPr>
        <p:grpSp>
          <p:nvGrpSpPr>
            <p:cNvPr id="3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38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9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40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41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37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1" name="Table 74"/>
          <p:cNvGraphicFramePr>
            <a:graphicFrameLocks noGrp="1"/>
          </p:cNvGraphicFramePr>
          <p:nvPr>
            <p:extLst/>
          </p:nvPr>
        </p:nvGraphicFramePr>
        <p:xfrm>
          <a:off x="420754" y="2744025"/>
          <a:ext cx="4824535" cy="1967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9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566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597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39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718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4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Budowa</a:t>
                      </a:r>
                      <a:r>
                        <a:rPr lang="pl-PL" sz="900" b="0" i="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Times New Roman" panose="02020603050405020304" pitchFamily="18" charset="0"/>
                        </a:rPr>
                        <a:t> i wdrożenie Krajowego Systemu Zarządzania Ruchem (KSZR) w sieci TEN-T etap 1 i wdrożenie wybranych najważniejszych usług ITS</a:t>
                      </a:r>
                      <a:endParaRPr lang="pl-PL" sz="900" b="0" i="1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drożenie cyfrowego międzynarodowego listu przewozowego e-CMR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440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</a:t>
                      </a:r>
                      <a:r>
                        <a:rPr lang="pl-PL" sz="90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łne wdrożenie systemu informacji rzecznej RIS Dolnej Odry oraz usług cyfrowych Centrum RIS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4 2020</a:t>
                      </a:r>
                    </a:p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22" name="Grupa 21"/>
          <p:cNvGrpSpPr/>
          <p:nvPr/>
        </p:nvGrpSpPr>
        <p:grpSpPr>
          <a:xfrm>
            <a:off x="3869372" y="3514492"/>
            <a:ext cx="223087" cy="209515"/>
            <a:chOff x="3762154" y="6525499"/>
            <a:chExt cx="223087" cy="209515"/>
          </a:xfrm>
        </p:grpSpPr>
        <p:sp>
          <p:nvSpPr>
            <p:cNvPr id="23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Grupa 24"/>
          <p:cNvGrpSpPr/>
          <p:nvPr/>
        </p:nvGrpSpPr>
        <p:grpSpPr>
          <a:xfrm>
            <a:off x="3882248" y="4350127"/>
            <a:ext cx="223087" cy="209515"/>
            <a:chOff x="3762154" y="6525499"/>
            <a:chExt cx="223087" cy="209515"/>
          </a:xfrm>
        </p:grpSpPr>
        <p:sp>
          <p:nvSpPr>
            <p:cNvPr id="26" name="Oval 93"/>
            <p:cNvSpPr/>
            <p:nvPr/>
          </p:nvSpPr>
          <p:spPr bwMode="gray">
            <a:xfrm>
              <a:off x="3762154" y="6531814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Arc 94"/>
            <p:cNvSpPr/>
            <p:nvPr/>
          </p:nvSpPr>
          <p:spPr bwMode="gray">
            <a:xfrm>
              <a:off x="3782041" y="6525499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dirty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Arc 162"/>
          <p:cNvSpPr/>
          <p:nvPr>
            <p:custDataLst>
              <p:tags r:id="rId4"/>
            </p:custDataLst>
          </p:nvPr>
        </p:nvSpPr>
        <p:spPr bwMode="gray">
          <a:xfrm>
            <a:off x="3899966" y="3953942"/>
            <a:ext cx="203200" cy="21409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2" name="Oval 49"/>
          <p:cNvSpPr/>
          <p:nvPr/>
        </p:nvSpPr>
        <p:spPr bwMode="auto">
          <a:xfrm>
            <a:off x="4392393" y="3536189"/>
            <a:ext cx="180932" cy="171098"/>
          </a:xfrm>
          <a:prstGeom prst="ellipse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82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Oval 49"/>
          <p:cNvSpPr/>
          <p:nvPr/>
        </p:nvSpPr>
        <p:spPr bwMode="auto">
          <a:xfrm>
            <a:off x="4408241" y="3996934"/>
            <a:ext cx="180932" cy="171098"/>
          </a:xfrm>
          <a:prstGeom prst="ellipse">
            <a:avLst/>
          </a:prstGeom>
          <a:solidFill>
            <a:srgbClr val="FFC000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82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cxnSp>
        <p:nvCxnSpPr>
          <p:cNvPr id="43" name="Łącznik prosty ze strzałką 42"/>
          <p:cNvCxnSpPr/>
          <p:nvPr/>
        </p:nvCxnSpPr>
        <p:spPr>
          <a:xfrm flipV="1">
            <a:off x="184064" y="3616092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Łącznik prosty ze strzałką 43"/>
          <p:cNvCxnSpPr/>
          <p:nvPr/>
        </p:nvCxnSpPr>
        <p:spPr>
          <a:xfrm flipV="1">
            <a:off x="158750" y="4071550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Łącznik prosty ze strzałką 44"/>
          <p:cNvCxnSpPr/>
          <p:nvPr/>
        </p:nvCxnSpPr>
        <p:spPr>
          <a:xfrm flipV="1">
            <a:off x="158891" y="4451727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140"/>
          <p:cNvSpPr/>
          <p:nvPr/>
        </p:nvSpPr>
        <p:spPr bwMode="auto">
          <a:xfrm>
            <a:off x="4420069" y="4357856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Prostokąt zaokrąglony 29"/>
          <p:cNvSpPr/>
          <p:nvPr/>
        </p:nvSpPr>
        <p:spPr>
          <a:xfrm>
            <a:off x="6030977" y="1161669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lutym 2017 r. </a:t>
            </a:r>
          </a:p>
        </p:txBody>
      </p:sp>
    </p:spTree>
    <p:extLst>
      <p:ext uri="{BB962C8B-B14F-4D97-AF65-F5344CB8AC3E}">
        <p14:creationId xmlns:p14="http://schemas.microsoft.com/office/powerpoint/2010/main" val="201600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7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378302" y="1222900"/>
            <a:ext cx="9043054" cy="844391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Tomasz Łukawski (NASK)</a:t>
            </a:r>
            <a:endParaRPr lang="pl-PL" sz="1400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lina Sarnecka (MEN)</a:t>
            </a:r>
            <a:endParaRPr lang="pl-PL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sz="2000" dirty="0" smtClean="0">
                <a:solidFill>
                  <a:srgbClr val="0166B6"/>
                </a:solidFill>
              </a:rPr>
              <a:t>Strumień</a:t>
            </a:r>
            <a:r>
              <a:rPr lang="pl-PL" altLang="pl-PL" sz="2000" dirty="0" smtClean="0"/>
              <a:t> </a:t>
            </a:r>
            <a:r>
              <a:rPr lang="pl-PL" altLang="pl-PL" sz="2000" dirty="0" smtClean="0">
                <a:solidFill>
                  <a:srgbClr val="DC6E00"/>
                </a:solidFill>
              </a:rPr>
              <a:t>e-Edukacja </a:t>
            </a:r>
            <a:r>
              <a:rPr lang="pl-PL" altLang="pl-PL" sz="2000" dirty="0" smtClean="0">
                <a:solidFill>
                  <a:srgbClr val="0166B6"/>
                </a:solidFill>
              </a:rPr>
              <a:t>realizuje inicjatywy z zakresu cyfryzacji edukacji i rozwijania kompetencji cyfrowych</a:t>
            </a:r>
          </a:p>
        </p:txBody>
      </p:sp>
      <p:sp>
        <p:nvSpPr>
          <p:cNvPr id="31" name="Round Diagonal Corner Rectangle 30"/>
          <p:cNvSpPr/>
          <p:nvPr/>
        </p:nvSpPr>
        <p:spPr>
          <a:xfrm>
            <a:off x="5817096" y="2708920"/>
            <a:ext cx="3775106" cy="324036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drożenie rządowego programu „Aktywna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blica”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ponad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63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ln wydane z budżetu państwa na wyposażenie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nad 12 tys. szkół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stawowych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kraju i za granicą; w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ach edycja 2020-23 dla szkół ponadpodstawowych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drażanie Ogólnopolskiej Sieci Edukacyjnej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do k. 2019r. zawarto ponad 13 tys. umów, w ponad 8,5 tys. szkół gotowe są już instalacje umożliwiające korzystanie z OSE 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uchomienie </a:t>
            </a: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integrowanej Platformy Edukacyjnej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www.epodreczniki.pl</a:t>
            </a:r>
            <a:endParaRPr lang="pl-PL" sz="13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3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gramy </a:t>
            </a:r>
            <a:r>
              <a:rPr lang="pl-PL" sz="13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zkoleń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t. kompetencji cyfrowych dla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uczycieli i uczniów  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np. </a:t>
            </a:r>
            <a:r>
              <a:rPr lang="pl-PL" sz="130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</a:t>
            </a:r>
            <a:r>
              <a:rPr lang="pl-PL" sz="1300" dirty="0" err="1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kcja:enter</a:t>
            </a:r>
            <a:r>
              <a:rPr lang="pl-PL" sz="13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  </a:t>
            </a:r>
          </a:p>
        </p:txBody>
      </p:sp>
      <p:sp>
        <p:nvSpPr>
          <p:cNvPr id="32" name="Rectangle 34"/>
          <p:cNvSpPr>
            <a:spLocks noChangeArrowheads="1"/>
          </p:cNvSpPr>
          <p:nvPr/>
        </p:nvSpPr>
        <p:spPr bwMode="auto">
          <a:xfrm>
            <a:off x="6681192" y="2335711"/>
            <a:ext cx="3384376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Kluczowe osiągnięcia w 2019r. 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grpSp>
        <p:nvGrpSpPr>
          <p:cNvPr id="25" name="Group 31"/>
          <p:cNvGrpSpPr>
            <a:grpSpLocks/>
          </p:cNvGrpSpPr>
          <p:nvPr/>
        </p:nvGrpSpPr>
        <p:grpSpPr bwMode="auto">
          <a:xfrm>
            <a:off x="602664" y="1318918"/>
            <a:ext cx="702000" cy="624000"/>
            <a:chOff x="1019177" y="1648406"/>
            <a:chExt cx="869682" cy="740783"/>
          </a:xfrm>
        </p:grpSpPr>
        <p:grpSp>
          <p:nvGrpSpPr>
            <p:cNvPr id="2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29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0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36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28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graphicFrame>
        <p:nvGraphicFramePr>
          <p:cNvPr id="20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671868"/>
              </p:ext>
            </p:extLst>
          </p:nvPr>
        </p:nvGraphicFramePr>
        <p:xfrm>
          <a:off x="353535" y="2643913"/>
          <a:ext cx="4824535" cy="26060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69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566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597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39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5718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289" marR="22289" marT="14625" marB="1462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426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ządowy program „Aktywna tablica”</a:t>
                      </a:r>
                      <a:endParaRPr lang="pl-PL" sz="900" b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gólnopolska</a:t>
                      </a:r>
                      <a:r>
                        <a:rPr lang="pl-PL" sz="90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ieć Edukacyjna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  <a:endParaRPr lang="pl-PL" sz="1100" b="1" i="0" u="none" strike="noStrike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zwijanie kompetencji cyfrowych nauczycieli, w tym projekty realizowane w ramach POPC – realizacja projektu „</a:t>
                      </a:r>
                      <a:r>
                        <a:rPr lang="pl-PL" sz="900" i="0" u="none" strike="noStrike" kern="1200" dirty="0" err="1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kcja:enter</a:t>
                      </a:r>
                      <a:r>
                        <a:rPr lang="pl-PL" sz="90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”</a:t>
                      </a:r>
                      <a:endParaRPr lang="pl-PL" sz="900" i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9629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zwijanie kompetencji cyfrowych uczniów</a:t>
                      </a:r>
                      <a:r>
                        <a:rPr lang="pl-PL" sz="900" i="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pl-PL" sz="90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 tym wdrożenie</a:t>
                      </a:r>
                      <a:r>
                        <a:rPr lang="pl-PL" sz="900" i="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owej podstawy programowej)</a:t>
                      </a:r>
                      <a:endParaRPr lang="pl-PL" sz="900" i="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720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worzenie e-materiałów do kształcenia ogólnego i zawodowego 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kern="1200" dirty="0" smtClean="0">
                          <a:solidFill>
                            <a:srgbClr val="DE7E14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pl-PL" sz="1100" b="1" kern="1200" dirty="0">
                        <a:solidFill>
                          <a:srgbClr val="DE7E14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720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 </a:t>
                      </a:r>
                      <a:endParaRPr lang="pl-PL" sz="900" u="none" strike="noStrike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4625" marR="14625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kern="1200" baseline="0" dirty="0" smtClean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uchomienie Zintegrowanej Platformy Edukacyjnej </a:t>
                      </a:r>
                    </a:p>
                  </a:txBody>
                  <a:tcPr marL="29250" marR="2925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 smtClean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900" kern="12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739" marR="7739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1" name="clipart_tick"/>
          <p:cNvSpPr>
            <a:spLocks noChangeAspect="1"/>
          </p:cNvSpPr>
          <p:nvPr/>
        </p:nvSpPr>
        <p:spPr bwMode="gray">
          <a:xfrm>
            <a:off x="4243689" y="3393876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clipart_tick"/>
          <p:cNvSpPr>
            <a:spLocks noChangeAspect="1"/>
          </p:cNvSpPr>
          <p:nvPr/>
        </p:nvSpPr>
        <p:spPr bwMode="gray">
          <a:xfrm>
            <a:off x="4299905" y="5065596"/>
            <a:ext cx="156354" cy="168524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8" name="Łącznik prosty ze strzałką 37"/>
          <p:cNvCxnSpPr/>
          <p:nvPr/>
        </p:nvCxnSpPr>
        <p:spPr>
          <a:xfrm flipV="1">
            <a:off x="104982" y="3877116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Łącznik prosty ze strzałką 38"/>
          <p:cNvCxnSpPr/>
          <p:nvPr/>
        </p:nvCxnSpPr>
        <p:spPr>
          <a:xfrm flipV="1">
            <a:off x="108341" y="4237597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Łącznik prosty ze strzałką 39"/>
          <p:cNvCxnSpPr/>
          <p:nvPr/>
        </p:nvCxnSpPr>
        <p:spPr>
          <a:xfrm flipV="1">
            <a:off x="104981" y="4598078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ze strzałką 40"/>
          <p:cNvCxnSpPr/>
          <p:nvPr/>
        </p:nvCxnSpPr>
        <p:spPr>
          <a:xfrm flipV="1">
            <a:off x="101890" y="4906827"/>
            <a:ext cx="269961" cy="457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140"/>
          <p:cNvSpPr/>
          <p:nvPr/>
        </p:nvSpPr>
        <p:spPr bwMode="auto">
          <a:xfrm>
            <a:off x="4229111" y="3766449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3" name="Oval 140"/>
          <p:cNvSpPr/>
          <p:nvPr/>
        </p:nvSpPr>
        <p:spPr bwMode="auto">
          <a:xfrm>
            <a:off x="4237192" y="409667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Oval 140"/>
          <p:cNvSpPr/>
          <p:nvPr/>
        </p:nvSpPr>
        <p:spPr bwMode="auto">
          <a:xfrm>
            <a:off x="4244481" y="4470890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Oval 140"/>
          <p:cNvSpPr/>
          <p:nvPr/>
        </p:nvSpPr>
        <p:spPr bwMode="auto">
          <a:xfrm>
            <a:off x="4244481" y="4771479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Prostokąt zaokrąglony 26"/>
          <p:cNvSpPr/>
          <p:nvPr/>
        </p:nvSpPr>
        <p:spPr>
          <a:xfrm>
            <a:off x="6205843" y="1154997"/>
            <a:ext cx="3215513" cy="36059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1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umień został powołany w październiku 2018 r. </a:t>
            </a:r>
          </a:p>
        </p:txBody>
      </p:sp>
    </p:spTree>
    <p:extLst>
      <p:ext uri="{BB962C8B-B14F-4D97-AF65-F5344CB8AC3E}">
        <p14:creationId xmlns:p14="http://schemas.microsoft.com/office/powerpoint/2010/main" val="2458619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49895232224041219382E+00&quot;&gt;&lt;m_msothmcolidx val=&quot;0&quot;/&gt;&lt;m_rgb r=&quot;11&quot; g=&quot;70&quot; b=&quot;AB&quot;/&gt;&lt;m_nBrightness val=&quot;0&quot;/&gt;&lt;/elem&gt;&lt;elem m_fUsage=&quot;3.95444490885182764472E+00&quot;&gt;&lt;m_msothmcolidx val=&quot;0&quot;/&gt;&lt;m_rgb r=&quot;58&quot; g=&quot;90&quot; b=&quot;C8&quot;/&gt;&lt;m_nBrightness val=&quot;0&quot;/&gt;&lt;/elem&gt;&lt;elem m_fUsage=&quot;5.39880127648652674566E-01&quot;&gt;&lt;m_msothmcolidx val=&quot;0&quot;/&gt;&lt;m_rgb r=&quot;0D&quot; g=&quot;38&quot; b=&quot;81&quot;/&gt;&lt;m_nBrightness val=&quot;0&quot;/&gt;&lt;/elem&gt;&lt;elem m_fUsage=&quot;5.78218017212386858894E-03&quot;&gt;&lt;m_msothmcolidx val=&quot;0&quot;/&gt;&lt;m_rgb r=&quot;7D&quot; g=&quot;A9&quot; b=&quot;D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e378f461-5c73-46ec-9281-d7e45e6a289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l3nYmcTquUnQYjFg4P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bYoAoT66fFrPC2gID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hw0d1Tgqt6bc4j8UF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313BEFA-1DFA-469B-961B-E2B163F408C7}" vid="{DB469181-935E-4995-8118-60CE9482E4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260</TotalTime>
  <Words>1942</Words>
  <Application>Microsoft Office PowerPoint</Application>
  <PresentationFormat>Papier A4 (210x297 mm)</PresentationFormat>
  <Paragraphs>432</Paragraphs>
  <Slides>15</Slides>
  <Notes>14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22" baseType="lpstr">
      <vt:lpstr>Arial</vt:lpstr>
      <vt:lpstr>Calibri</vt:lpstr>
      <vt:lpstr>Helvetica Light</vt:lpstr>
      <vt:lpstr>Times New Roman</vt:lpstr>
      <vt:lpstr>Wingdings</vt:lpstr>
      <vt:lpstr>Blank</vt:lpstr>
      <vt:lpstr>think-cell Slide</vt:lpstr>
      <vt:lpstr>Prezentacja programu PowerPoint</vt:lpstr>
      <vt:lpstr>Obecna struktura i zakres programu "Od papierowej do cyfrowej Polski"</vt:lpstr>
      <vt:lpstr>Strumień Cyfrowe Usługi Publiczne, w tym e-Skrzynka i e-Doręczenia wspiera prace nad cyfryzacją usług publicznych</vt:lpstr>
      <vt:lpstr>Prezentacja programu PowerPoint</vt:lpstr>
      <vt:lpstr>Strumień Zwiększenie Obrotu Bezgotówkowego wdraża inicjatywy ograniczające obieg gotówki w gospodarce </vt:lpstr>
      <vt:lpstr>Strumień e-Faktura i e-Paragon realizuje inicjatywy cyfryzujące obieg dokumentów w zamówieniach publicznych i handlu</vt:lpstr>
      <vt:lpstr>Strumień e-Sprawozdawczość pracuje nad usunięciem redundancji danych sprawozdawczych przedsiębiorców</vt:lpstr>
      <vt:lpstr>Strumień e-Transport i e-Przepływy Towarów zajmuje się centralizacją systemów zarządzania ruchem oraz udrożnieniem łańcucha dostaw</vt:lpstr>
      <vt:lpstr>Strumień e-Edukacja realizuje inicjatywy z zakresu cyfryzacji edukacji i rozwijania kompetencji cyfrowych</vt:lpstr>
      <vt:lpstr>Strumień Sztuczna Inteligencja realizuje inicjatywy z zakresu budowy środowiska dla lepszego rozwoju i wykorzystania SI</vt:lpstr>
      <vt:lpstr>Od lipca 2019r. w ramach strumienia Sztuczna Inteligencja realizowany jest Program AI</vt:lpstr>
      <vt:lpstr>Strumień Internet rzeczy realizuje inicjatywy z zakresu zniesienia barier prawnych oraz wprowadzenia regulacji stymulujących rynek w zakresie IoT</vt:lpstr>
      <vt:lpstr>Strumień Rejestry Rozproszone pracuje nad rozpowszechnieniem technologii blockchain w gospodarce</vt:lpstr>
      <vt:lpstr>Spotkania Komitetu Sterującego i liderów strumieni </vt:lpstr>
      <vt:lpstr>Prezentacja programu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imek, Maciej</dc:creator>
  <cp:lastModifiedBy>Autor</cp:lastModifiedBy>
  <cp:revision>367</cp:revision>
  <cp:lastPrinted>2020-01-15T09:30:11Z</cp:lastPrinted>
  <dcterms:created xsi:type="dcterms:W3CDTF">2016-10-31T13:19:05Z</dcterms:created>
  <dcterms:modified xsi:type="dcterms:W3CDTF">2020-01-28T13:4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BCGmod</vt:lpwstr>
  </property>
  <property fmtid="{D5CDD505-2E9C-101B-9397-08002B2CF9AE}" pid="3" name="Template Name">
    <vt:lpwstr>A4</vt:lpwstr>
  </property>
</Properties>
</file>